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268" r:id="rId2"/>
    <p:sldId id="291" r:id="rId3"/>
    <p:sldId id="281" r:id="rId4"/>
    <p:sldId id="297" r:id="rId5"/>
    <p:sldId id="317" r:id="rId6"/>
    <p:sldId id="298" r:id="rId7"/>
    <p:sldId id="300" r:id="rId8"/>
    <p:sldId id="303" r:id="rId9"/>
    <p:sldId id="299" r:id="rId10"/>
    <p:sldId id="325" r:id="rId11"/>
    <p:sldId id="326" r:id="rId12"/>
    <p:sldId id="304" r:id="rId13"/>
    <p:sldId id="305" r:id="rId14"/>
    <p:sldId id="306" r:id="rId15"/>
    <p:sldId id="318" r:id="rId16"/>
    <p:sldId id="309" r:id="rId17"/>
    <p:sldId id="322" r:id="rId18"/>
    <p:sldId id="310" r:id="rId19"/>
    <p:sldId id="319" r:id="rId20"/>
    <p:sldId id="320" r:id="rId21"/>
    <p:sldId id="307" r:id="rId22"/>
    <p:sldId id="321" r:id="rId23"/>
    <p:sldId id="313" r:id="rId24"/>
    <p:sldId id="312" r:id="rId25"/>
    <p:sldId id="314" r:id="rId26"/>
    <p:sldId id="324" r:id="rId27"/>
    <p:sldId id="256" r:id="rId28"/>
    <p:sldId id="267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81"/>
            <p14:sldId id="297"/>
            <p14:sldId id="317"/>
            <p14:sldId id="298"/>
            <p14:sldId id="300"/>
            <p14:sldId id="303"/>
            <p14:sldId id="299"/>
            <p14:sldId id="325"/>
            <p14:sldId id="326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21"/>
            <p14:sldId id="313"/>
            <p14:sldId id="312"/>
            <p14:sldId id="314"/>
            <p14:sldId id="324"/>
            <p14:sldId id="25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2C7CC4"/>
    <a:srgbClr val="E41212"/>
    <a:srgbClr val="D01012"/>
    <a:srgbClr val="F0F0F0"/>
    <a:srgbClr val="FFFFFF"/>
    <a:srgbClr val="F5E467"/>
    <a:srgbClr val="980C0C"/>
    <a:srgbClr val="2089D0"/>
    <a:srgbClr val="B08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 varScale="1">
        <p:scale>
          <a:sx n="59" d="100"/>
          <a:sy n="59" d="100"/>
        </p:scale>
        <p:origin x="20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BFD59BD2-5035-42C1-A56A-57D903C47EAE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BBA93C7-B449-4884-B8B6-18DF69D5D1AF}" type="parTrans" cxnId="{BF1F1F7E-6E54-41AC-8D23-34F60150390C}">
      <dgm:prSet/>
      <dgm:spPr/>
    </dgm:pt>
    <dgm:pt modelId="{6FB33CDA-5B57-4BEC-B01E-3F4A64482742}" type="sibTrans" cxnId="{BF1F1F7E-6E54-41AC-8D23-34F60150390C}">
      <dgm:prSet/>
      <dgm:spPr/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CC17F0B-5DB9-4460-B7BC-CEB874E1AC5C}" type="presOf" srcId="{BFD59BD2-5035-42C1-A56A-57D903C47EAE}" destId="{8F606117-646B-465E-8292-304040BE07E0}" srcOrd="0" destOrd="3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1" presId="urn:microsoft.com/office/officeart/2005/8/layout/hList7"/>
    <dgm:cxn modelId="{DB6DD935-1D56-4039-A26E-26B3291F8142}" type="presOf" srcId="{BFD59BD2-5035-42C1-A56A-57D903C47EAE}" destId="{FCD3DA1D-3C8E-441D-8097-9302C824752C}" srcOrd="1" destOrd="3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2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1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2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BF1F1F7E-6E54-41AC-8D23-34F60150390C}" srcId="{7C965FE3-DD92-4091-88FE-D6D2EAF30BC1}" destId="{BFD59BD2-5035-42C1-A56A-57D903C47EAE}" srcOrd="2" destOrd="0" parTransId="{2BBA93C7-B449-4884-B8B6-18DF69D5D1AF}" sibTransId="{6FB33CDA-5B57-4BEC-B01E-3F4A64482742}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04C57394-FF34-4446-8E22-1E82B07BCC38}" srcId="{7C965FE3-DD92-4091-88FE-D6D2EAF30BC1}" destId="{ABA0481D-5353-4284-8F70-8217ADE56E28}" srcOrd="0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1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0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362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6302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3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11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893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ell the story of </a:t>
            </a:r>
            <a:r>
              <a:rPr lang="en-US" dirty="0" err="1"/>
              <a:t>KeyVault</a:t>
            </a:r>
            <a:r>
              <a:rPr lang="en-US" dirty="0"/>
              <a:t> access mode switch issue investig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973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34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4.png"/><Relationship Id="rId7" Type="http://schemas.openxmlformats.org/officeDocument/2006/relationships/hyperlink" Target="https://learn.microsoft.com/en-us/azure/azure-resource-manager/bicep/modules#file-in-template-spec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10" Type="http://schemas.openxmlformats.org/officeDocument/2006/relationships/image" Target="../media/image42.png"/><Relationship Id="rId4" Type="http://schemas.openxmlformats.org/officeDocument/2006/relationships/image" Target="../media/image20.png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4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2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7.png"/><Relationship Id="rId12" Type="http://schemas.openxmlformats.org/officeDocument/2006/relationships/image" Target="../media/image5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46.jpg"/><Relationship Id="rId11" Type="http://schemas.openxmlformats.org/officeDocument/2006/relationships/image" Target="../media/image50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57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4.jpeg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5.png"/><Relationship Id="rId4" Type="http://schemas.openxmlformats.org/officeDocument/2006/relationships/image" Target="../media/image53.png"/><Relationship Id="rId9" Type="http://schemas.openxmlformats.org/officeDocument/2006/relationships/image" Target="../media/image50.png"/><Relationship Id="rId1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12" Type="http://schemas.microsoft.com/office/2007/relationships/hdphoto" Target="../media/hdphoto2.wdp"/><Relationship Id="rId2" Type="http://schemas.openxmlformats.org/officeDocument/2006/relationships/tags" Target="../tags/tag7.xml"/><Relationship Id="rId16" Type="http://schemas.openxmlformats.org/officeDocument/2006/relationships/image" Target="../media/image10.png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9.png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microsoft.com/office/2007/relationships/hdphoto" Target="../media/hdphoto4.wdp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817283" y="5109175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7CD934-19F0-6A91-9692-A2D7011B2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905" y="2601504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31AA386-E52B-7087-393C-16DFFA33A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776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D0940E11-7969-9E29-7FC5-7CFCAFDE6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780" y="2594702"/>
            <a:ext cx="882469" cy="90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B2BA1AD0-69A3-3359-D688-02ADEB61FE4B}"/>
              </a:ext>
            </a:extLst>
          </p:cNvPr>
          <p:cNvSpPr/>
          <p:nvPr/>
        </p:nvSpPr>
        <p:spPr>
          <a:xfrm rot="18628755">
            <a:off x="5923767" y="2309036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BEF615D-2534-445B-8F63-7458A6D90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170" y="1595512"/>
            <a:ext cx="806756" cy="80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Right 30">
            <a:extLst>
              <a:ext uri="{FF2B5EF4-FFF2-40B4-BE49-F238E27FC236}">
                <a16:creationId xmlns:a16="http://schemas.microsoft.com/office/drawing/2014/main" id="{5C6BF4CF-966C-8372-1F93-B78C30952665}"/>
              </a:ext>
            </a:extLst>
          </p:cNvPr>
          <p:cNvSpPr/>
          <p:nvPr/>
        </p:nvSpPr>
        <p:spPr>
          <a:xfrm rot="3091230">
            <a:off x="6745868" y="2315268"/>
            <a:ext cx="579282" cy="260454"/>
          </a:xfrm>
          <a:custGeom>
            <a:avLst/>
            <a:gdLst>
              <a:gd name="connsiteX0" fmla="*/ 0 w 579282"/>
              <a:gd name="connsiteY0" fmla="*/ 65114 h 260454"/>
              <a:gd name="connsiteX1" fmla="*/ 449055 w 579282"/>
              <a:gd name="connsiteY1" fmla="*/ 65114 h 260454"/>
              <a:gd name="connsiteX2" fmla="*/ 449055 w 579282"/>
              <a:gd name="connsiteY2" fmla="*/ 0 h 260454"/>
              <a:gd name="connsiteX3" fmla="*/ 579282 w 579282"/>
              <a:gd name="connsiteY3" fmla="*/ 130227 h 260454"/>
              <a:gd name="connsiteX4" fmla="*/ 449055 w 579282"/>
              <a:gd name="connsiteY4" fmla="*/ 260454 h 260454"/>
              <a:gd name="connsiteX5" fmla="*/ 449055 w 579282"/>
              <a:gd name="connsiteY5" fmla="*/ 195341 h 260454"/>
              <a:gd name="connsiteX6" fmla="*/ 0 w 579282"/>
              <a:gd name="connsiteY6" fmla="*/ 195341 h 260454"/>
              <a:gd name="connsiteX7" fmla="*/ 0 w 579282"/>
              <a:gd name="connsiteY7" fmla="*/ 65114 h 26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9282" h="260454" extrusionOk="0">
                <a:moveTo>
                  <a:pt x="0" y="65114"/>
                </a:moveTo>
                <a:cubicBezTo>
                  <a:pt x="219689" y="83922"/>
                  <a:pt x="343930" y="68334"/>
                  <a:pt x="449055" y="65114"/>
                </a:cubicBezTo>
                <a:cubicBezTo>
                  <a:pt x="446983" y="50603"/>
                  <a:pt x="448264" y="19193"/>
                  <a:pt x="449055" y="0"/>
                </a:cubicBezTo>
                <a:cubicBezTo>
                  <a:pt x="499266" y="56448"/>
                  <a:pt x="532927" y="83474"/>
                  <a:pt x="579282" y="130227"/>
                </a:cubicBezTo>
                <a:cubicBezTo>
                  <a:pt x="543622" y="170670"/>
                  <a:pt x="478526" y="232534"/>
                  <a:pt x="449055" y="260454"/>
                </a:cubicBezTo>
                <a:cubicBezTo>
                  <a:pt x="451786" y="247325"/>
                  <a:pt x="445967" y="218843"/>
                  <a:pt x="449055" y="195341"/>
                </a:cubicBezTo>
                <a:cubicBezTo>
                  <a:pt x="252022" y="178871"/>
                  <a:pt x="164957" y="178540"/>
                  <a:pt x="0" y="195341"/>
                </a:cubicBezTo>
                <a:cubicBezTo>
                  <a:pt x="3888" y="163988"/>
                  <a:pt x="-1958" y="125989"/>
                  <a:pt x="0" y="6511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0411676-1729-5586-D497-F3C3BB0908BF}"/>
              </a:ext>
            </a:extLst>
          </p:cNvPr>
          <p:cNvSpPr txBox="1"/>
          <p:nvPr/>
        </p:nvSpPr>
        <p:spPr>
          <a:xfrm>
            <a:off x="6987172" y="1814224"/>
            <a:ext cx="1440715" cy="369332"/>
          </a:xfrm>
          <a:custGeom>
            <a:avLst/>
            <a:gdLst>
              <a:gd name="connsiteX0" fmla="*/ 0 w 1440715"/>
              <a:gd name="connsiteY0" fmla="*/ 0 h 369332"/>
              <a:gd name="connsiteX1" fmla="*/ 465831 w 1440715"/>
              <a:gd name="connsiteY1" fmla="*/ 0 h 369332"/>
              <a:gd name="connsiteX2" fmla="*/ 902848 w 1440715"/>
              <a:gd name="connsiteY2" fmla="*/ 0 h 369332"/>
              <a:gd name="connsiteX3" fmla="*/ 1440715 w 1440715"/>
              <a:gd name="connsiteY3" fmla="*/ 0 h 369332"/>
              <a:gd name="connsiteX4" fmla="*/ 1440715 w 1440715"/>
              <a:gd name="connsiteY4" fmla="*/ 369332 h 369332"/>
              <a:gd name="connsiteX5" fmla="*/ 989291 w 1440715"/>
              <a:gd name="connsiteY5" fmla="*/ 369332 h 369332"/>
              <a:gd name="connsiteX6" fmla="*/ 480238 w 1440715"/>
              <a:gd name="connsiteY6" fmla="*/ 369332 h 369332"/>
              <a:gd name="connsiteX7" fmla="*/ 0 w 1440715"/>
              <a:gd name="connsiteY7" fmla="*/ 369332 h 369332"/>
              <a:gd name="connsiteX8" fmla="*/ 0 w 144071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715" h="369332" extrusionOk="0">
                <a:moveTo>
                  <a:pt x="0" y="0"/>
                </a:moveTo>
                <a:cubicBezTo>
                  <a:pt x="151133" y="-13805"/>
                  <a:pt x="270454" y="9665"/>
                  <a:pt x="465831" y="0"/>
                </a:cubicBezTo>
                <a:cubicBezTo>
                  <a:pt x="661208" y="-9665"/>
                  <a:pt x="723557" y="41844"/>
                  <a:pt x="902848" y="0"/>
                </a:cubicBezTo>
                <a:cubicBezTo>
                  <a:pt x="1082139" y="-41844"/>
                  <a:pt x="1215787" y="8461"/>
                  <a:pt x="1440715" y="0"/>
                </a:cubicBezTo>
                <a:cubicBezTo>
                  <a:pt x="1476303" y="113493"/>
                  <a:pt x="1413908" y="197069"/>
                  <a:pt x="1440715" y="369332"/>
                </a:cubicBezTo>
                <a:cubicBezTo>
                  <a:pt x="1292099" y="399259"/>
                  <a:pt x="1211211" y="346730"/>
                  <a:pt x="989291" y="369332"/>
                </a:cubicBezTo>
                <a:cubicBezTo>
                  <a:pt x="767371" y="391934"/>
                  <a:pt x="723872" y="316504"/>
                  <a:pt x="480238" y="369332"/>
                </a:cubicBezTo>
                <a:cubicBezTo>
                  <a:pt x="236604" y="422160"/>
                  <a:pt x="132567" y="31906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R workflo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04250" y="3402672"/>
            <a:ext cx="47073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hange management as a cod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Good change histor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I Pipelines can validate a lo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 can be hard in siloed organization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Very hard to integrate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abstraction lay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9232FF8-BD3D-03FB-DA98-1293724DE60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B7AF08C-23E8-5486-3CF1-FBF7C41DBF26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D41E5802-FABE-86B2-6484-D83FB95A271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GitOp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1839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529" y="2151874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458" y="258559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667673" y="1690689"/>
            <a:ext cx="4707353" cy="4802186"/>
          </a:xfrm>
          <a:custGeom>
            <a:avLst/>
            <a:gdLst>
              <a:gd name="connsiteX0" fmla="*/ 0 w 4707353"/>
              <a:gd name="connsiteY0" fmla="*/ 784575 h 4802186"/>
              <a:gd name="connsiteX1" fmla="*/ 784575 w 4707353"/>
              <a:gd name="connsiteY1" fmla="*/ 0 h 4802186"/>
              <a:gd name="connsiteX2" fmla="*/ 1370373 w 4707353"/>
              <a:gd name="connsiteY2" fmla="*/ 0 h 4802186"/>
              <a:gd name="connsiteX3" fmla="*/ 1862025 w 4707353"/>
              <a:gd name="connsiteY3" fmla="*/ 0 h 4802186"/>
              <a:gd name="connsiteX4" fmla="*/ 2322294 w 4707353"/>
              <a:gd name="connsiteY4" fmla="*/ 0 h 4802186"/>
              <a:gd name="connsiteX5" fmla="*/ 2876710 w 4707353"/>
              <a:gd name="connsiteY5" fmla="*/ 0 h 4802186"/>
              <a:gd name="connsiteX6" fmla="*/ 3368362 w 4707353"/>
              <a:gd name="connsiteY6" fmla="*/ 0 h 4802186"/>
              <a:gd name="connsiteX7" fmla="*/ 3922778 w 4707353"/>
              <a:gd name="connsiteY7" fmla="*/ 0 h 4802186"/>
              <a:gd name="connsiteX8" fmla="*/ 4707353 w 4707353"/>
              <a:gd name="connsiteY8" fmla="*/ 784575 h 4802186"/>
              <a:gd name="connsiteX9" fmla="*/ 4707353 w 4707353"/>
              <a:gd name="connsiteY9" fmla="*/ 1258754 h 4802186"/>
              <a:gd name="connsiteX10" fmla="*/ 4707353 w 4707353"/>
              <a:gd name="connsiteY10" fmla="*/ 1797593 h 4802186"/>
              <a:gd name="connsiteX11" fmla="*/ 4707353 w 4707353"/>
              <a:gd name="connsiteY11" fmla="*/ 2336432 h 4802186"/>
              <a:gd name="connsiteX12" fmla="*/ 4707353 w 4707353"/>
              <a:gd name="connsiteY12" fmla="*/ 2842941 h 4802186"/>
              <a:gd name="connsiteX13" fmla="*/ 4707353 w 4707353"/>
              <a:gd name="connsiteY13" fmla="*/ 3446441 h 4802186"/>
              <a:gd name="connsiteX14" fmla="*/ 4707353 w 4707353"/>
              <a:gd name="connsiteY14" fmla="*/ 4017611 h 4802186"/>
              <a:gd name="connsiteX15" fmla="*/ 3922778 w 4707353"/>
              <a:gd name="connsiteY15" fmla="*/ 4802186 h 4802186"/>
              <a:gd name="connsiteX16" fmla="*/ 3368362 w 4707353"/>
              <a:gd name="connsiteY16" fmla="*/ 4802186 h 4802186"/>
              <a:gd name="connsiteX17" fmla="*/ 2845328 w 4707353"/>
              <a:gd name="connsiteY17" fmla="*/ 4802186 h 4802186"/>
              <a:gd name="connsiteX18" fmla="*/ 2416441 w 4707353"/>
              <a:gd name="connsiteY18" fmla="*/ 4802186 h 4802186"/>
              <a:gd name="connsiteX19" fmla="*/ 1956171 w 4707353"/>
              <a:gd name="connsiteY19" fmla="*/ 4802186 h 4802186"/>
              <a:gd name="connsiteX20" fmla="*/ 1370373 w 4707353"/>
              <a:gd name="connsiteY20" fmla="*/ 4802186 h 4802186"/>
              <a:gd name="connsiteX21" fmla="*/ 784575 w 4707353"/>
              <a:gd name="connsiteY21" fmla="*/ 4802186 h 4802186"/>
              <a:gd name="connsiteX22" fmla="*/ 0 w 4707353"/>
              <a:gd name="connsiteY22" fmla="*/ 4017611 h 4802186"/>
              <a:gd name="connsiteX23" fmla="*/ 0 w 4707353"/>
              <a:gd name="connsiteY23" fmla="*/ 3446441 h 4802186"/>
              <a:gd name="connsiteX24" fmla="*/ 0 w 4707353"/>
              <a:gd name="connsiteY24" fmla="*/ 3004593 h 4802186"/>
              <a:gd name="connsiteX25" fmla="*/ 0 w 4707353"/>
              <a:gd name="connsiteY25" fmla="*/ 2465754 h 4802186"/>
              <a:gd name="connsiteX26" fmla="*/ 0 w 4707353"/>
              <a:gd name="connsiteY26" fmla="*/ 1991575 h 4802186"/>
              <a:gd name="connsiteX27" fmla="*/ 0 w 4707353"/>
              <a:gd name="connsiteY27" fmla="*/ 1420405 h 4802186"/>
              <a:gd name="connsiteX28" fmla="*/ 0 w 4707353"/>
              <a:gd name="connsiteY28" fmla="*/ 784575 h 4802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07353" h="4802186" extrusionOk="0">
                <a:moveTo>
                  <a:pt x="0" y="784575"/>
                </a:moveTo>
                <a:cubicBezTo>
                  <a:pt x="-49440" y="320770"/>
                  <a:pt x="256563" y="35544"/>
                  <a:pt x="784575" y="0"/>
                </a:cubicBezTo>
                <a:cubicBezTo>
                  <a:pt x="1010919" y="-53889"/>
                  <a:pt x="1099269" y="27415"/>
                  <a:pt x="1370373" y="0"/>
                </a:cubicBezTo>
                <a:cubicBezTo>
                  <a:pt x="1641477" y="-27415"/>
                  <a:pt x="1647378" y="34760"/>
                  <a:pt x="1862025" y="0"/>
                </a:cubicBezTo>
                <a:cubicBezTo>
                  <a:pt x="2076672" y="-34760"/>
                  <a:pt x="2149682" y="11053"/>
                  <a:pt x="2322294" y="0"/>
                </a:cubicBezTo>
                <a:cubicBezTo>
                  <a:pt x="2494906" y="-11053"/>
                  <a:pt x="2747524" y="7796"/>
                  <a:pt x="2876710" y="0"/>
                </a:cubicBezTo>
                <a:cubicBezTo>
                  <a:pt x="3005896" y="-7796"/>
                  <a:pt x="3165210" y="5090"/>
                  <a:pt x="3368362" y="0"/>
                </a:cubicBezTo>
                <a:cubicBezTo>
                  <a:pt x="3571514" y="-5090"/>
                  <a:pt x="3772601" y="27291"/>
                  <a:pt x="3922778" y="0"/>
                </a:cubicBezTo>
                <a:cubicBezTo>
                  <a:pt x="4353841" y="-21415"/>
                  <a:pt x="4683867" y="383905"/>
                  <a:pt x="4707353" y="784575"/>
                </a:cubicBezTo>
                <a:cubicBezTo>
                  <a:pt x="4719951" y="929013"/>
                  <a:pt x="4662880" y="1073062"/>
                  <a:pt x="4707353" y="1258754"/>
                </a:cubicBezTo>
                <a:cubicBezTo>
                  <a:pt x="4751826" y="1444446"/>
                  <a:pt x="4656214" y="1664078"/>
                  <a:pt x="4707353" y="1797593"/>
                </a:cubicBezTo>
                <a:cubicBezTo>
                  <a:pt x="4758492" y="1931108"/>
                  <a:pt x="4694629" y="2226654"/>
                  <a:pt x="4707353" y="2336432"/>
                </a:cubicBezTo>
                <a:cubicBezTo>
                  <a:pt x="4720077" y="2446210"/>
                  <a:pt x="4664614" y="2717154"/>
                  <a:pt x="4707353" y="2842941"/>
                </a:cubicBezTo>
                <a:cubicBezTo>
                  <a:pt x="4750092" y="2968728"/>
                  <a:pt x="4653669" y="3186124"/>
                  <a:pt x="4707353" y="3446441"/>
                </a:cubicBezTo>
                <a:cubicBezTo>
                  <a:pt x="4761037" y="3706758"/>
                  <a:pt x="4706476" y="3795061"/>
                  <a:pt x="4707353" y="4017611"/>
                </a:cubicBezTo>
                <a:cubicBezTo>
                  <a:pt x="4686143" y="4454403"/>
                  <a:pt x="4326665" y="4781885"/>
                  <a:pt x="3922778" y="4802186"/>
                </a:cubicBezTo>
                <a:cubicBezTo>
                  <a:pt x="3774676" y="4838256"/>
                  <a:pt x="3631580" y="4777626"/>
                  <a:pt x="3368362" y="4802186"/>
                </a:cubicBezTo>
                <a:cubicBezTo>
                  <a:pt x="3105144" y="4826746"/>
                  <a:pt x="3027815" y="4742259"/>
                  <a:pt x="2845328" y="4802186"/>
                </a:cubicBezTo>
                <a:cubicBezTo>
                  <a:pt x="2662841" y="4862113"/>
                  <a:pt x="2606078" y="4783839"/>
                  <a:pt x="2416441" y="4802186"/>
                </a:cubicBezTo>
                <a:cubicBezTo>
                  <a:pt x="2226804" y="4820533"/>
                  <a:pt x="2126049" y="4761204"/>
                  <a:pt x="1956171" y="4802186"/>
                </a:cubicBezTo>
                <a:cubicBezTo>
                  <a:pt x="1786293" y="4843168"/>
                  <a:pt x="1490676" y="4759271"/>
                  <a:pt x="1370373" y="4802186"/>
                </a:cubicBezTo>
                <a:cubicBezTo>
                  <a:pt x="1250070" y="4845101"/>
                  <a:pt x="990738" y="4758016"/>
                  <a:pt x="784575" y="4802186"/>
                </a:cubicBezTo>
                <a:cubicBezTo>
                  <a:pt x="365936" y="4831233"/>
                  <a:pt x="-89864" y="4498309"/>
                  <a:pt x="0" y="4017611"/>
                </a:cubicBezTo>
                <a:cubicBezTo>
                  <a:pt x="-42724" y="3896007"/>
                  <a:pt x="56" y="3717071"/>
                  <a:pt x="0" y="3446441"/>
                </a:cubicBezTo>
                <a:cubicBezTo>
                  <a:pt x="-56" y="3175811"/>
                  <a:pt x="34692" y="3143704"/>
                  <a:pt x="0" y="3004593"/>
                </a:cubicBezTo>
                <a:cubicBezTo>
                  <a:pt x="-34692" y="2865482"/>
                  <a:pt x="49210" y="2588393"/>
                  <a:pt x="0" y="2465754"/>
                </a:cubicBezTo>
                <a:cubicBezTo>
                  <a:pt x="-49210" y="2343115"/>
                  <a:pt x="16819" y="2212889"/>
                  <a:pt x="0" y="1991575"/>
                </a:cubicBezTo>
                <a:cubicBezTo>
                  <a:pt x="-16819" y="1770261"/>
                  <a:pt x="40972" y="1562802"/>
                  <a:pt x="0" y="1420405"/>
                </a:cubicBezTo>
                <a:cubicBezTo>
                  <a:pt x="-40972" y="1278008"/>
                  <a:pt x="61624" y="1043984"/>
                  <a:pt x="0" y="784575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987602" y="251047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64242" y="4496905"/>
            <a:ext cx="3907982" cy="1973671"/>
          </a:xfrm>
          <a:custGeom>
            <a:avLst/>
            <a:gdLst>
              <a:gd name="connsiteX0" fmla="*/ 0 w 3907982"/>
              <a:gd name="connsiteY0" fmla="*/ 328952 h 1973671"/>
              <a:gd name="connsiteX1" fmla="*/ 328952 w 3907982"/>
              <a:gd name="connsiteY1" fmla="*/ 0 h 1973671"/>
              <a:gd name="connsiteX2" fmla="*/ 870632 w 3907982"/>
              <a:gd name="connsiteY2" fmla="*/ 0 h 1973671"/>
              <a:gd name="connsiteX3" fmla="*/ 1347310 w 3907982"/>
              <a:gd name="connsiteY3" fmla="*/ 0 h 1973671"/>
              <a:gd name="connsiteX4" fmla="*/ 1921490 w 3907982"/>
              <a:gd name="connsiteY4" fmla="*/ 0 h 1973671"/>
              <a:gd name="connsiteX5" fmla="*/ 2398168 w 3907982"/>
              <a:gd name="connsiteY5" fmla="*/ 0 h 1973671"/>
              <a:gd name="connsiteX6" fmla="*/ 2972349 w 3907982"/>
              <a:gd name="connsiteY6" fmla="*/ 0 h 1973671"/>
              <a:gd name="connsiteX7" fmla="*/ 3579030 w 3907982"/>
              <a:gd name="connsiteY7" fmla="*/ 0 h 1973671"/>
              <a:gd name="connsiteX8" fmla="*/ 3907982 w 3907982"/>
              <a:gd name="connsiteY8" fmla="*/ 328952 h 1973671"/>
              <a:gd name="connsiteX9" fmla="*/ 3907982 w 3907982"/>
              <a:gd name="connsiteY9" fmla="*/ 754383 h 1973671"/>
              <a:gd name="connsiteX10" fmla="*/ 3907982 w 3907982"/>
              <a:gd name="connsiteY10" fmla="*/ 1166657 h 1973671"/>
              <a:gd name="connsiteX11" fmla="*/ 3907982 w 3907982"/>
              <a:gd name="connsiteY11" fmla="*/ 1644719 h 1973671"/>
              <a:gd name="connsiteX12" fmla="*/ 3579030 w 3907982"/>
              <a:gd name="connsiteY12" fmla="*/ 1973671 h 1973671"/>
              <a:gd name="connsiteX13" fmla="*/ 3102352 w 3907982"/>
              <a:gd name="connsiteY13" fmla="*/ 1973671 h 1973671"/>
              <a:gd name="connsiteX14" fmla="*/ 2593173 w 3907982"/>
              <a:gd name="connsiteY14" fmla="*/ 1973671 h 1973671"/>
              <a:gd name="connsiteX15" fmla="*/ 2051493 w 3907982"/>
              <a:gd name="connsiteY15" fmla="*/ 1973671 h 1973671"/>
              <a:gd name="connsiteX16" fmla="*/ 1574815 w 3907982"/>
              <a:gd name="connsiteY16" fmla="*/ 1973671 h 1973671"/>
              <a:gd name="connsiteX17" fmla="*/ 968134 w 3907982"/>
              <a:gd name="connsiteY17" fmla="*/ 1973671 h 1973671"/>
              <a:gd name="connsiteX18" fmla="*/ 328952 w 3907982"/>
              <a:gd name="connsiteY18" fmla="*/ 1973671 h 1973671"/>
              <a:gd name="connsiteX19" fmla="*/ 0 w 3907982"/>
              <a:gd name="connsiteY19" fmla="*/ 1644719 h 1973671"/>
              <a:gd name="connsiteX20" fmla="*/ 0 w 3907982"/>
              <a:gd name="connsiteY20" fmla="*/ 1206130 h 1973671"/>
              <a:gd name="connsiteX21" fmla="*/ 0 w 3907982"/>
              <a:gd name="connsiteY21" fmla="*/ 754383 h 1973671"/>
              <a:gd name="connsiteX22" fmla="*/ 0 w 3907982"/>
              <a:gd name="connsiteY22" fmla="*/ 328952 h 197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73671" fill="none" extrusionOk="0">
                <a:moveTo>
                  <a:pt x="0" y="328952"/>
                </a:moveTo>
                <a:cubicBezTo>
                  <a:pt x="-20651" y="146108"/>
                  <a:pt x="167917" y="17770"/>
                  <a:pt x="328952" y="0"/>
                </a:cubicBezTo>
                <a:cubicBezTo>
                  <a:pt x="460823" y="-3407"/>
                  <a:pt x="745429" y="6986"/>
                  <a:pt x="870632" y="0"/>
                </a:cubicBezTo>
                <a:cubicBezTo>
                  <a:pt x="995835" y="-6986"/>
                  <a:pt x="1209204" y="5094"/>
                  <a:pt x="1347310" y="0"/>
                </a:cubicBezTo>
                <a:cubicBezTo>
                  <a:pt x="1485416" y="-5094"/>
                  <a:pt x="1767094" y="43327"/>
                  <a:pt x="1921490" y="0"/>
                </a:cubicBezTo>
                <a:cubicBezTo>
                  <a:pt x="2075886" y="-43327"/>
                  <a:pt x="2194986" y="32994"/>
                  <a:pt x="2398168" y="0"/>
                </a:cubicBezTo>
                <a:cubicBezTo>
                  <a:pt x="2601350" y="-32994"/>
                  <a:pt x="2725470" y="8147"/>
                  <a:pt x="2972349" y="0"/>
                </a:cubicBezTo>
                <a:cubicBezTo>
                  <a:pt x="3219228" y="-8147"/>
                  <a:pt x="3301264" y="51108"/>
                  <a:pt x="3579030" y="0"/>
                </a:cubicBezTo>
                <a:cubicBezTo>
                  <a:pt x="3786036" y="-43979"/>
                  <a:pt x="3862847" y="129974"/>
                  <a:pt x="3907982" y="328952"/>
                </a:cubicBezTo>
                <a:cubicBezTo>
                  <a:pt x="3927190" y="499761"/>
                  <a:pt x="3865014" y="622426"/>
                  <a:pt x="3907982" y="754383"/>
                </a:cubicBezTo>
                <a:cubicBezTo>
                  <a:pt x="3950950" y="886340"/>
                  <a:pt x="3884282" y="1010150"/>
                  <a:pt x="3907982" y="1166657"/>
                </a:cubicBezTo>
                <a:cubicBezTo>
                  <a:pt x="3931682" y="1323164"/>
                  <a:pt x="3889635" y="1536617"/>
                  <a:pt x="3907982" y="1644719"/>
                </a:cubicBezTo>
                <a:cubicBezTo>
                  <a:pt x="3943622" y="1816961"/>
                  <a:pt x="3755069" y="2012715"/>
                  <a:pt x="3579030" y="1973671"/>
                </a:cubicBezTo>
                <a:cubicBezTo>
                  <a:pt x="3444668" y="1990488"/>
                  <a:pt x="3272787" y="1932051"/>
                  <a:pt x="3102352" y="1973671"/>
                </a:cubicBezTo>
                <a:cubicBezTo>
                  <a:pt x="2931917" y="2015291"/>
                  <a:pt x="2776420" y="1930870"/>
                  <a:pt x="2593173" y="1973671"/>
                </a:cubicBezTo>
                <a:cubicBezTo>
                  <a:pt x="2409926" y="2016472"/>
                  <a:pt x="2166683" y="1935861"/>
                  <a:pt x="2051493" y="1973671"/>
                </a:cubicBezTo>
                <a:cubicBezTo>
                  <a:pt x="1936303" y="2011481"/>
                  <a:pt x="1706003" y="1931122"/>
                  <a:pt x="1574815" y="1973671"/>
                </a:cubicBezTo>
                <a:cubicBezTo>
                  <a:pt x="1443627" y="2016220"/>
                  <a:pt x="1247899" y="1953274"/>
                  <a:pt x="968134" y="1973671"/>
                </a:cubicBezTo>
                <a:cubicBezTo>
                  <a:pt x="688369" y="1994068"/>
                  <a:pt x="520585" y="1903923"/>
                  <a:pt x="328952" y="1973671"/>
                </a:cubicBezTo>
                <a:cubicBezTo>
                  <a:pt x="155980" y="2004226"/>
                  <a:pt x="13462" y="1832062"/>
                  <a:pt x="0" y="1644719"/>
                </a:cubicBezTo>
                <a:cubicBezTo>
                  <a:pt x="-41624" y="1532307"/>
                  <a:pt x="43509" y="1313492"/>
                  <a:pt x="0" y="1206130"/>
                </a:cubicBezTo>
                <a:cubicBezTo>
                  <a:pt x="-43509" y="1098768"/>
                  <a:pt x="9235" y="894212"/>
                  <a:pt x="0" y="754383"/>
                </a:cubicBezTo>
                <a:cubicBezTo>
                  <a:pt x="-9235" y="614554"/>
                  <a:pt x="45077" y="497656"/>
                  <a:pt x="0" y="328952"/>
                </a:cubicBezTo>
                <a:close/>
              </a:path>
              <a:path w="3907982" h="1973671" stroke="0" extrusionOk="0">
                <a:moveTo>
                  <a:pt x="0" y="328952"/>
                </a:moveTo>
                <a:cubicBezTo>
                  <a:pt x="-17036" y="136769"/>
                  <a:pt x="106867" y="15167"/>
                  <a:pt x="328952" y="0"/>
                </a:cubicBezTo>
                <a:cubicBezTo>
                  <a:pt x="603979" y="-9680"/>
                  <a:pt x="800722" y="68343"/>
                  <a:pt x="935633" y="0"/>
                </a:cubicBezTo>
                <a:cubicBezTo>
                  <a:pt x="1070544" y="-68343"/>
                  <a:pt x="1330191" y="21190"/>
                  <a:pt x="1444812" y="0"/>
                </a:cubicBezTo>
                <a:cubicBezTo>
                  <a:pt x="1559433" y="-21190"/>
                  <a:pt x="1790638" y="47625"/>
                  <a:pt x="1921490" y="0"/>
                </a:cubicBezTo>
                <a:cubicBezTo>
                  <a:pt x="2052342" y="-47625"/>
                  <a:pt x="2277783" y="49593"/>
                  <a:pt x="2495671" y="0"/>
                </a:cubicBezTo>
                <a:cubicBezTo>
                  <a:pt x="2713559" y="-49593"/>
                  <a:pt x="2761626" y="33268"/>
                  <a:pt x="3004850" y="0"/>
                </a:cubicBezTo>
                <a:cubicBezTo>
                  <a:pt x="3248074" y="-33268"/>
                  <a:pt x="3393992" y="11087"/>
                  <a:pt x="3579030" y="0"/>
                </a:cubicBezTo>
                <a:cubicBezTo>
                  <a:pt x="3756092" y="-43988"/>
                  <a:pt x="3877284" y="189938"/>
                  <a:pt x="3907982" y="328952"/>
                </a:cubicBezTo>
                <a:cubicBezTo>
                  <a:pt x="3931566" y="483168"/>
                  <a:pt x="3882106" y="626174"/>
                  <a:pt x="3907982" y="741226"/>
                </a:cubicBezTo>
                <a:cubicBezTo>
                  <a:pt x="3933858" y="856278"/>
                  <a:pt x="3897496" y="1066877"/>
                  <a:pt x="3907982" y="1179815"/>
                </a:cubicBezTo>
                <a:cubicBezTo>
                  <a:pt x="3918468" y="1292753"/>
                  <a:pt x="3883749" y="1486061"/>
                  <a:pt x="3907982" y="1644719"/>
                </a:cubicBezTo>
                <a:cubicBezTo>
                  <a:pt x="3929061" y="1805565"/>
                  <a:pt x="3804953" y="1945139"/>
                  <a:pt x="3579030" y="1973671"/>
                </a:cubicBezTo>
                <a:cubicBezTo>
                  <a:pt x="3322915" y="1984342"/>
                  <a:pt x="3289776" y="1938820"/>
                  <a:pt x="3037350" y="1973671"/>
                </a:cubicBezTo>
                <a:cubicBezTo>
                  <a:pt x="2784924" y="2008522"/>
                  <a:pt x="2703014" y="1930405"/>
                  <a:pt x="2560672" y="1973671"/>
                </a:cubicBezTo>
                <a:cubicBezTo>
                  <a:pt x="2418330" y="2016937"/>
                  <a:pt x="2234328" y="1937553"/>
                  <a:pt x="2018993" y="1973671"/>
                </a:cubicBezTo>
                <a:cubicBezTo>
                  <a:pt x="1803658" y="2009789"/>
                  <a:pt x="1706910" y="1955422"/>
                  <a:pt x="1412311" y="1973671"/>
                </a:cubicBezTo>
                <a:cubicBezTo>
                  <a:pt x="1117712" y="1991920"/>
                  <a:pt x="1139380" y="1957958"/>
                  <a:pt x="870632" y="1973671"/>
                </a:cubicBezTo>
                <a:cubicBezTo>
                  <a:pt x="601884" y="1989384"/>
                  <a:pt x="522801" y="1956084"/>
                  <a:pt x="328952" y="1973671"/>
                </a:cubicBezTo>
                <a:cubicBezTo>
                  <a:pt x="119289" y="1974823"/>
                  <a:pt x="22827" y="1785244"/>
                  <a:pt x="0" y="1644719"/>
                </a:cubicBezTo>
                <a:cubicBezTo>
                  <a:pt x="-42726" y="1426548"/>
                  <a:pt x="37150" y="1382597"/>
                  <a:pt x="0" y="1192972"/>
                </a:cubicBezTo>
                <a:cubicBezTo>
                  <a:pt x="-37150" y="1003347"/>
                  <a:pt x="47038" y="893053"/>
                  <a:pt x="0" y="780699"/>
                </a:cubicBezTo>
                <a:cubicBezTo>
                  <a:pt x="-47038" y="668345"/>
                  <a:pt x="18524" y="510819"/>
                  <a:pt x="0" y="32895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772159" y="4639328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673263" y="5122766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527007" y="4038208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600595" y="2866012"/>
            <a:ext cx="882285" cy="267739"/>
          </a:xfrm>
          <a:custGeom>
            <a:avLst/>
            <a:gdLst>
              <a:gd name="connsiteX0" fmla="*/ 0 w 882285"/>
              <a:gd name="connsiteY0" fmla="*/ 66935 h 267739"/>
              <a:gd name="connsiteX1" fmla="*/ 366724 w 882285"/>
              <a:gd name="connsiteY1" fmla="*/ 66935 h 267739"/>
              <a:gd name="connsiteX2" fmla="*/ 748416 w 882285"/>
              <a:gd name="connsiteY2" fmla="*/ 66935 h 267739"/>
              <a:gd name="connsiteX3" fmla="*/ 748416 w 882285"/>
              <a:gd name="connsiteY3" fmla="*/ 0 h 267739"/>
              <a:gd name="connsiteX4" fmla="*/ 882285 w 882285"/>
              <a:gd name="connsiteY4" fmla="*/ 133870 h 267739"/>
              <a:gd name="connsiteX5" fmla="*/ 748416 w 882285"/>
              <a:gd name="connsiteY5" fmla="*/ 267739 h 267739"/>
              <a:gd name="connsiteX6" fmla="*/ 748416 w 882285"/>
              <a:gd name="connsiteY6" fmla="*/ 200804 h 267739"/>
              <a:gd name="connsiteX7" fmla="*/ 389176 w 882285"/>
              <a:gd name="connsiteY7" fmla="*/ 200804 h 267739"/>
              <a:gd name="connsiteX8" fmla="*/ 0 w 882285"/>
              <a:gd name="connsiteY8" fmla="*/ 200804 h 267739"/>
              <a:gd name="connsiteX9" fmla="*/ 0 w 882285"/>
              <a:gd name="connsiteY9" fmla="*/ 66935 h 26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2285" h="267739" extrusionOk="0">
                <a:moveTo>
                  <a:pt x="0" y="66935"/>
                </a:moveTo>
                <a:cubicBezTo>
                  <a:pt x="105584" y="66583"/>
                  <a:pt x="271670" y="68505"/>
                  <a:pt x="366724" y="66935"/>
                </a:cubicBezTo>
                <a:cubicBezTo>
                  <a:pt x="461778" y="65365"/>
                  <a:pt x="562217" y="62688"/>
                  <a:pt x="748416" y="66935"/>
                </a:cubicBezTo>
                <a:cubicBezTo>
                  <a:pt x="748903" y="50486"/>
                  <a:pt x="745949" y="28541"/>
                  <a:pt x="748416" y="0"/>
                </a:cubicBezTo>
                <a:cubicBezTo>
                  <a:pt x="799410" y="58417"/>
                  <a:pt x="827958" y="70310"/>
                  <a:pt x="882285" y="133870"/>
                </a:cubicBezTo>
                <a:cubicBezTo>
                  <a:pt x="841114" y="175366"/>
                  <a:pt x="806982" y="207873"/>
                  <a:pt x="748416" y="267739"/>
                </a:cubicBezTo>
                <a:cubicBezTo>
                  <a:pt x="747199" y="241938"/>
                  <a:pt x="750124" y="227606"/>
                  <a:pt x="748416" y="200804"/>
                </a:cubicBezTo>
                <a:cubicBezTo>
                  <a:pt x="590299" y="183490"/>
                  <a:pt x="467139" y="184131"/>
                  <a:pt x="389176" y="200804"/>
                </a:cubicBezTo>
                <a:cubicBezTo>
                  <a:pt x="311213" y="217477"/>
                  <a:pt x="192231" y="202141"/>
                  <a:pt x="0" y="200804"/>
                </a:cubicBezTo>
                <a:cubicBezTo>
                  <a:pt x="-6026" y="162536"/>
                  <a:pt x="5236" y="102763"/>
                  <a:pt x="0" y="66935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7712505" y="2896409"/>
            <a:ext cx="348132" cy="216575"/>
          </a:xfrm>
          <a:custGeom>
            <a:avLst/>
            <a:gdLst>
              <a:gd name="connsiteX0" fmla="*/ 0 w 348132"/>
              <a:gd name="connsiteY0" fmla="*/ 54144 h 216575"/>
              <a:gd name="connsiteX1" fmla="*/ 239845 w 348132"/>
              <a:gd name="connsiteY1" fmla="*/ 54144 h 216575"/>
              <a:gd name="connsiteX2" fmla="*/ 239845 w 348132"/>
              <a:gd name="connsiteY2" fmla="*/ 0 h 216575"/>
              <a:gd name="connsiteX3" fmla="*/ 348132 w 348132"/>
              <a:gd name="connsiteY3" fmla="*/ 108288 h 216575"/>
              <a:gd name="connsiteX4" fmla="*/ 239845 w 348132"/>
              <a:gd name="connsiteY4" fmla="*/ 216575 h 216575"/>
              <a:gd name="connsiteX5" fmla="*/ 239845 w 348132"/>
              <a:gd name="connsiteY5" fmla="*/ 162431 h 216575"/>
              <a:gd name="connsiteX6" fmla="*/ 0 w 348132"/>
              <a:gd name="connsiteY6" fmla="*/ 162431 h 216575"/>
              <a:gd name="connsiteX7" fmla="*/ 0 w 348132"/>
              <a:gd name="connsiteY7" fmla="*/ 54144 h 21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132" h="216575" extrusionOk="0">
                <a:moveTo>
                  <a:pt x="0" y="54144"/>
                </a:moveTo>
                <a:cubicBezTo>
                  <a:pt x="105584" y="51053"/>
                  <a:pt x="137275" y="55119"/>
                  <a:pt x="239845" y="54144"/>
                </a:cubicBezTo>
                <a:cubicBezTo>
                  <a:pt x="242104" y="34405"/>
                  <a:pt x="242099" y="13583"/>
                  <a:pt x="239845" y="0"/>
                </a:cubicBezTo>
                <a:cubicBezTo>
                  <a:pt x="287711" y="52099"/>
                  <a:pt x="314388" y="77475"/>
                  <a:pt x="348132" y="108288"/>
                </a:cubicBezTo>
                <a:cubicBezTo>
                  <a:pt x="308244" y="146567"/>
                  <a:pt x="274671" y="184508"/>
                  <a:pt x="239845" y="216575"/>
                </a:cubicBezTo>
                <a:cubicBezTo>
                  <a:pt x="237942" y="198448"/>
                  <a:pt x="239280" y="179664"/>
                  <a:pt x="239845" y="162431"/>
                </a:cubicBezTo>
                <a:cubicBezTo>
                  <a:pt x="152833" y="154719"/>
                  <a:pt x="105099" y="164165"/>
                  <a:pt x="0" y="162431"/>
                </a:cubicBezTo>
                <a:cubicBezTo>
                  <a:pt x="-2135" y="139021"/>
                  <a:pt x="4951" y="105636"/>
                  <a:pt x="0" y="54144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BA51D45-08DA-A647-CEE8-9DB79872E098}"/>
              </a:ext>
            </a:extLst>
          </p:cNvPr>
          <p:cNvSpPr txBox="1"/>
          <p:nvPr/>
        </p:nvSpPr>
        <p:spPr>
          <a:xfrm>
            <a:off x="4712039" y="3612930"/>
            <a:ext cx="47073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ich User Interface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igh effort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ypically, Catalog servers only stable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env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4107A7B-4659-3DA1-E6C3-2CD4A298AB78}"/>
              </a:ext>
            </a:extLst>
          </p:cNvPr>
          <p:cNvSpPr txBox="1"/>
          <p:nvPr/>
        </p:nvSpPr>
        <p:spPr>
          <a:xfrm>
            <a:off x="2527007" y="5721446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CE763BF-921A-7931-8A22-E9B5757D53DC}"/>
              </a:ext>
            </a:extLst>
          </p:cNvPr>
          <p:cNvGrpSpPr/>
          <p:nvPr/>
        </p:nvGrpSpPr>
        <p:grpSpPr>
          <a:xfrm>
            <a:off x="4792252" y="1857073"/>
            <a:ext cx="1745921" cy="1751701"/>
            <a:chOff x="2722159" y="1020348"/>
            <a:chExt cx="1745921" cy="1751701"/>
          </a:xfrm>
        </p:grpSpPr>
        <p:pic>
          <p:nvPicPr>
            <p:cNvPr id="7" name="Picture 2" descr="ServiceNow Logo and symbol, meaning, history, PNG">
              <a:extLst>
                <a:ext uri="{FF2B5EF4-FFF2-40B4-BE49-F238E27FC236}">
                  <a16:creationId xmlns:a16="http://schemas.microsoft.com/office/drawing/2014/main" id="{B5D609C4-50F1-0052-49DA-C0418C750F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2159" y="1020348"/>
              <a:ext cx="1745921" cy="1098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3559A66C-F77E-E0D5-0A09-4691F0F483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3275" y="1597264"/>
              <a:ext cx="1124438" cy="1174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75B5DCD4-0EE4-E70B-4B0A-BA499002F635}"/>
              </a:ext>
            </a:extLst>
          </p:cNvPr>
          <p:cNvSpPr/>
          <p:nvPr/>
        </p:nvSpPr>
        <p:spPr>
          <a:xfrm>
            <a:off x="6035691" y="2896409"/>
            <a:ext cx="627061" cy="258908"/>
          </a:xfrm>
          <a:custGeom>
            <a:avLst/>
            <a:gdLst>
              <a:gd name="connsiteX0" fmla="*/ 0 w 627061"/>
              <a:gd name="connsiteY0" fmla="*/ 64727 h 258908"/>
              <a:gd name="connsiteX1" fmla="*/ 497607 w 627061"/>
              <a:gd name="connsiteY1" fmla="*/ 64727 h 258908"/>
              <a:gd name="connsiteX2" fmla="*/ 497607 w 627061"/>
              <a:gd name="connsiteY2" fmla="*/ 0 h 258908"/>
              <a:gd name="connsiteX3" fmla="*/ 627061 w 627061"/>
              <a:gd name="connsiteY3" fmla="*/ 129454 h 258908"/>
              <a:gd name="connsiteX4" fmla="*/ 497607 w 627061"/>
              <a:gd name="connsiteY4" fmla="*/ 258908 h 258908"/>
              <a:gd name="connsiteX5" fmla="*/ 497607 w 627061"/>
              <a:gd name="connsiteY5" fmla="*/ 194181 h 258908"/>
              <a:gd name="connsiteX6" fmla="*/ 0 w 627061"/>
              <a:gd name="connsiteY6" fmla="*/ 194181 h 258908"/>
              <a:gd name="connsiteX7" fmla="*/ 0 w 627061"/>
              <a:gd name="connsiteY7" fmla="*/ 64727 h 258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7061" h="258908" extrusionOk="0">
                <a:moveTo>
                  <a:pt x="0" y="64727"/>
                </a:moveTo>
                <a:cubicBezTo>
                  <a:pt x="140017" y="70790"/>
                  <a:pt x="366012" y="88159"/>
                  <a:pt x="497607" y="64727"/>
                </a:cubicBezTo>
                <a:cubicBezTo>
                  <a:pt x="498355" y="38492"/>
                  <a:pt x="500366" y="23257"/>
                  <a:pt x="497607" y="0"/>
                </a:cubicBezTo>
                <a:cubicBezTo>
                  <a:pt x="558378" y="53661"/>
                  <a:pt x="589654" y="86366"/>
                  <a:pt x="627061" y="129454"/>
                </a:cubicBezTo>
                <a:cubicBezTo>
                  <a:pt x="568423" y="178529"/>
                  <a:pt x="531930" y="221212"/>
                  <a:pt x="497607" y="258908"/>
                </a:cubicBezTo>
                <a:cubicBezTo>
                  <a:pt x="496755" y="243326"/>
                  <a:pt x="500500" y="223747"/>
                  <a:pt x="497607" y="194181"/>
                </a:cubicBezTo>
                <a:cubicBezTo>
                  <a:pt x="359593" y="197142"/>
                  <a:pt x="226887" y="209398"/>
                  <a:pt x="0" y="194181"/>
                </a:cubicBezTo>
                <a:cubicBezTo>
                  <a:pt x="5989" y="163206"/>
                  <a:pt x="-665" y="104524"/>
                  <a:pt x="0" y="6472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BEC0606-E289-99F4-D953-8964D4A41E78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9" name="Rectángulo redondeado 14">
              <a:extLst>
                <a:ext uri="{FF2B5EF4-FFF2-40B4-BE49-F238E27FC236}">
                  <a16:creationId xmlns:a16="http://schemas.microsoft.com/office/drawing/2014/main" id="{F70CA8ED-E9CD-35A7-9976-803DCBE7957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Rectángulo 12">
              <a:extLst>
                <a:ext uri="{FF2B5EF4-FFF2-40B4-BE49-F238E27FC236}">
                  <a16:creationId xmlns:a16="http://schemas.microsoft.com/office/drawing/2014/main" id="{5238D716-7946-515A-FEFC-AECAFB4795C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Service Catalo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05558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4"/>
            <a:ext cx="11063515" cy="4183289"/>
          </a:xfrm>
        </p:spPr>
        <p:txBody>
          <a:bodyPr>
            <a:normAutofit lnSpcReduction="10000"/>
          </a:bodyPr>
          <a:lstStyle/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robably there are ton of other considerations, but the point is…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There are Pros and Cons in every model…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o hybrid approach might be necessary</a:t>
            </a:r>
          </a:p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if … there was a tool that fits all scenarios….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upports Pipelines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rovides Rich UI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s reusable by other Templates</a:t>
            </a:r>
          </a:p>
          <a:p>
            <a:pPr lvl="1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tegrates with other systems via API</a:t>
            </a:r>
          </a:p>
          <a:p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Let's check Azure Template Specs…</a:t>
            </a:r>
          </a:p>
          <a:p>
            <a:pPr marL="0" indent="0">
              <a:buNone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1DCE3D-ECFD-44F8-D6A2-55A2829327C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63498B4E-1FF6-0F62-C893-17F661942C40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D268DA78-4887-ADDC-9F33-A8575C2D091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in </a:t>
              </a:r>
              <a:r>
                <a:rPr lang="fr-FR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complex</a:t>
              </a:r>
              <a:r>
                <a:rPr lang="fr-FR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environnements</a:t>
              </a:r>
              <a:endPara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6195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...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F7DAA-29B5-32E7-431A-D3A599D8366F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6" name="Rectángulo redondeado 14">
              <a:extLst>
                <a:ext uri="{FF2B5EF4-FFF2-40B4-BE49-F238E27FC236}">
                  <a16:creationId xmlns:a16="http://schemas.microsoft.com/office/drawing/2014/main" id="{C972281B-3F02-91B9-2257-D06A6C079C6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ángulo 12">
              <a:extLst>
                <a:ext uri="{FF2B5EF4-FFF2-40B4-BE49-F238E27FC236}">
                  <a16:creationId xmlns:a16="http://schemas.microsoft.com/office/drawing/2014/main" id="{CE1FD935-8CB2-4CC6-5CEA-21D2DE79A59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97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bicepModule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579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3471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I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4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pipelines/TS-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CD.yaml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2053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3677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templateSpecs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/…/&lt;name&gt;.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ui.json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20E7B7A-EA64-FFAA-9797-E80EFD4E6070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56E6D33D-3F83-C532-8390-B7E631C09693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B331E663-7855-F064-A768-F75042FD95C5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2E18948-71E6-C760-B2DF-A04559E11F5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3421702F-6C4A-7591-7AAE-ACCBCC4010E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8634C993-AC19-7753-277E-5184BF73B426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723900" y="2135496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4353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2846" y="2504828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00" y="2514354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203950" y="2135496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3652" y="2571505"/>
            <a:ext cx="5002998" cy="307945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958BE1F-5E33-3763-83F8-66202710C9F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1F794769-A156-6645-253C-0AD02E3A845C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C0F0B456-CA04-F762-256E-C13F179DA6B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el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The: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ArmApiControl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3CA7DC-0EF1-0E6B-D768-CC093E21A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2" y="2269040"/>
            <a:ext cx="8194754" cy="40873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DB5D9B-725A-037B-B5F0-4E9CFC77E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412" y="1909916"/>
            <a:ext cx="6532345" cy="718248"/>
          </a:xfrm>
          <a:custGeom>
            <a:avLst/>
            <a:gdLst>
              <a:gd name="connsiteX0" fmla="*/ 0 w 6532345"/>
              <a:gd name="connsiteY0" fmla="*/ 0 h 718248"/>
              <a:gd name="connsiteX1" fmla="*/ 457264 w 6532345"/>
              <a:gd name="connsiteY1" fmla="*/ 0 h 718248"/>
              <a:gd name="connsiteX2" fmla="*/ 1241146 w 6532345"/>
              <a:gd name="connsiteY2" fmla="*/ 0 h 718248"/>
              <a:gd name="connsiteX3" fmla="*/ 1959704 w 6532345"/>
              <a:gd name="connsiteY3" fmla="*/ 0 h 718248"/>
              <a:gd name="connsiteX4" fmla="*/ 2416968 w 6532345"/>
              <a:gd name="connsiteY4" fmla="*/ 0 h 718248"/>
              <a:gd name="connsiteX5" fmla="*/ 3004879 w 6532345"/>
              <a:gd name="connsiteY5" fmla="*/ 0 h 718248"/>
              <a:gd name="connsiteX6" fmla="*/ 3788760 w 6532345"/>
              <a:gd name="connsiteY6" fmla="*/ 0 h 718248"/>
              <a:gd name="connsiteX7" fmla="*/ 4441995 w 6532345"/>
              <a:gd name="connsiteY7" fmla="*/ 0 h 718248"/>
              <a:gd name="connsiteX8" fmla="*/ 5160553 w 6532345"/>
              <a:gd name="connsiteY8" fmla="*/ 0 h 718248"/>
              <a:gd name="connsiteX9" fmla="*/ 5748464 w 6532345"/>
              <a:gd name="connsiteY9" fmla="*/ 0 h 718248"/>
              <a:gd name="connsiteX10" fmla="*/ 6532345 w 6532345"/>
              <a:gd name="connsiteY10" fmla="*/ 0 h 718248"/>
              <a:gd name="connsiteX11" fmla="*/ 6532345 w 6532345"/>
              <a:gd name="connsiteY11" fmla="*/ 373489 h 718248"/>
              <a:gd name="connsiteX12" fmla="*/ 6532345 w 6532345"/>
              <a:gd name="connsiteY12" fmla="*/ 718248 h 718248"/>
              <a:gd name="connsiteX13" fmla="*/ 6075081 w 6532345"/>
              <a:gd name="connsiteY13" fmla="*/ 718248 h 718248"/>
              <a:gd name="connsiteX14" fmla="*/ 5617817 w 6532345"/>
              <a:gd name="connsiteY14" fmla="*/ 718248 h 718248"/>
              <a:gd name="connsiteX15" fmla="*/ 4899259 w 6532345"/>
              <a:gd name="connsiteY15" fmla="*/ 718248 h 718248"/>
              <a:gd name="connsiteX16" fmla="*/ 4441995 w 6532345"/>
              <a:gd name="connsiteY16" fmla="*/ 718248 h 718248"/>
              <a:gd name="connsiteX17" fmla="*/ 3788760 w 6532345"/>
              <a:gd name="connsiteY17" fmla="*/ 718248 h 718248"/>
              <a:gd name="connsiteX18" fmla="*/ 3266173 w 6532345"/>
              <a:gd name="connsiteY18" fmla="*/ 718248 h 718248"/>
              <a:gd name="connsiteX19" fmla="*/ 2612938 w 6532345"/>
              <a:gd name="connsiteY19" fmla="*/ 718248 h 718248"/>
              <a:gd name="connsiteX20" fmla="*/ 1959704 w 6532345"/>
              <a:gd name="connsiteY20" fmla="*/ 718248 h 718248"/>
              <a:gd name="connsiteX21" fmla="*/ 1306469 w 6532345"/>
              <a:gd name="connsiteY21" fmla="*/ 718248 h 718248"/>
              <a:gd name="connsiteX22" fmla="*/ 653235 w 6532345"/>
              <a:gd name="connsiteY22" fmla="*/ 718248 h 718248"/>
              <a:gd name="connsiteX23" fmla="*/ 0 w 6532345"/>
              <a:gd name="connsiteY23" fmla="*/ 718248 h 718248"/>
              <a:gd name="connsiteX24" fmla="*/ 0 w 6532345"/>
              <a:gd name="connsiteY24" fmla="*/ 351942 h 718248"/>
              <a:gd name="connsiteX25" fmla="*/ 0 w 6532345"/>
              <a:gd name="connsiteY25" fmla="*/ 0 h 718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32345" h="718248" fill="none" extrusionOk="0">
                <a:moveTo>
                  <a:pt x="0" y="0"/>
                </a:moveTo>
                <a:cubicBezTo>
                  <a:pt x="197971" y="-12121"/>
                  <a:pt x="324844" y="6377"/>
                  <a:pt x="457264" y="0"/>
                </a:cubicBezTo>
                <a:cubicBezTo>
                  <a:pt x="589684" y="-6377"/>
                  <a:pt x="898083" y="-25161"/>
                  <a:pt x="1241146" y="0"/>
                </a:cubicBezTo>
                <a:cubicBezTo>
                  <a:pt x="1584209" y="25161"/>
                  <a:pt x="1684252" y="-21654"/>
                  <a:pt x="1959704" y="0"/>
                </a:cubicBezTo>
                <a:cubicBezTo>
                  <a:pt x="2235156" y="21654"/>
                  <a:pt x="2246192" y="10711"/>
                  <a:pt x="2416968" y="0"/>
                </a:cubicBezTo>
                <a:cubicBezTo>
                  <a:pt x="2587744" y="-10711"/>
                  <a:pt x="2765728" y="-24531"/>
                  <a:pt x="3004879" y="0"/>
                </a:cubicBezTo>
                <a:cubicBezTo>
                  <a:pt x="3244030" y="24531"/>
                  <a:pt x="3454257" y="7806"/>
                  <a:pt x="3788760" y="0"/>
                </a:cubicBezTo>
                <a:cubicBezTo>
                  <a:pt x="4123263" y="-7806"/>
                  <a:pt x="4228511" y="22212"/>
                  <a:pt x="4441995" y="0"/>
                </a:cubicBezTo>
                <a:cubicBezTo>
                  <a:pt x="4655479" y="-22212"/>
                  <a:pt x="4813860" y="-8832"/>
                  <a:pt x="5160553" y="0"/>
                </a:cubicBezTo>
                <a:cubicBezTo>
                  <a:pt x="5507246" y="8832"/>
                  <a:pt x="5527021" y="-366"/>
                  <a:pt x="5748464" y="0"/>
                </a:cubicBezTo>
                <a:cubicBezTo>
                  <a:pt x="5969907" y="366"/>
                  <a:pt x="6271852" y="-16183"/>
                  <a:pt x="6532345" y="0"/>
                </a:cubicBezTo>
                <a:cubicBezTo>
                  <a:pt x="6548426" y="146747"/>
                  <a:pt x="6527891" y="189638"/>
                  <a:pt x="6532345" y="373489"/>
                </a:cubicBezTo>
                <a:cubicBezTo>
                  <a:pt x="6536799" y="557340"/>
                  <a:pt x="6519247" y="647548"/>
                  <a:pt x="6532345" y="718248"/>
                </a:cubicBezTo>
                <a:cubicBezTo>
                  <a:pt x="6343580" y="711418"/>
                  <a:pt x="6227463" y="738827"/>
                  <a:pt x="6075081" y="718248"/>
                </a:cubicBezTo>
                <a:cubicBezTo>
                  <a:pt x="5922699" y="697669"/>
                  <a:pt x="5805601" y="726898"/>
                  <a:pt x="5617817" y="718248"/>
                </a:cubicBezTo>
                <a:cubicBezTo>
                  <a:pt x="5430033" y="709598"/>
                  <a:pt x="5069279" y="698793"/>
                  <a:pt x="4899259" y="718248"/>
                </a:cubicBezTo>
                <a:cubicBezTo>
                  <a:pt x="4729239" y="737703"/>
                  <a:pt x="4564655" y="700682"/>
                  <a:pt x="4441995" y="718248"/>
                </a:cubicBezTo>
                <a:cubicBezTo>
                  <a:pt x="4319335" y="735814"/>
                  <a:pt x="3926968" y="717245"/>
                  <a:pt x="3788760" y="718248"/>
                </a:cubicBezTo>
                <a:cubicBezTo>
                  <a:pt x="3650553" y="719251"/>
                  <a:pt x="3437430" y="692771"/>
                  <a:pt x="3266173" y="718248"/>
                </a:cubicBezTo>
                <a:cubicBezTo>
                  <a:pt x="3094916" y="743725"/>
                  <a:pt x="2879554" y="734611"/>
                  <a:pt x="2612938" y="718248"/>
                </a:cubicBezTo>
                <a:cubicBezTo>
                  <a:pt x="2346322" y="701885"/>
                  <a:pt x="2216765" y="687375"/>
                  <a:pt x="1959704" y="718248"/>
                </a:cubicBezTo>
                <a:cubicBezTo>
                  <a:pt x="1702643" y="749121"/>
                  <a:pt x="1448049" y="693305"/>
                  <a:pt x="1306469" y="718248"/>
                </a:cubicBezTo>
                <a:cubicBezTo>
                  <a:pt x="1164890" y="743191"/>
                  <a:pt x="912606" y="735495"/>
                  <a:pt x="653235" y="718248"/>
                </a:cubicBezTo>
                <a:cubicBezTo>
                  <a:pt x="393864" y="701001"/>
                  <a:pt x="226088" y="730118"/>
                  <a:pt x="0" y="718248"/>
                </a:cubicBezTo>
                <a:cubicBezTo>
                  <a:pt x="-3898" y="549209"/>
                  <a:pt x="-14823" y="465192"/>
                  <a:pt x="0" y="351942"/>
                </a:cubicBezTo>
                <a:cubicBezTo>
                  <a:pt x="14823" y="238692"/>
                  <a:pt x="15935" y="101456"/>
                  <a:pt x="0" y="0"/>
                </a:cubicBezTo>
                <a:close/>
              </a:path>
              <a:path w="6532345" h="718248" stroke="0" extrusionOk="0">
                <a:moveTo>
                  <a:pt x="0" y="0"/>
                </a:moveTo>
                <a:cubicBezTo>
                  <a:pt x="194429" y="8462"/>
                  <a:pt x="405765" y="21024"/>
                  <a:pt x="587911" y="0"/>
                </a:cubicBezTo>
                <a:cubicBezTo>
                  <a:pt x="770057" y="-21024"/>
                  <a:pt x="854479" y="-7713"/>
                  <a:pt x="1045175" y="0"/>
                </a:cubicBezTo>
                <a:cubicBezTo>
                  <a:pt x="1235871" y="7713"/>
                  <a:pt x="1459626" y="6673"/>
                  <a:pt x="1829057" y="0"/>
                </a:cubicBezTo>
                <a:cubicBezTo>
                  <a:pt x="2198488" y="-6673"/>
                  <a:pt x="2295586" y="19228"/>
                  <a:pt x="2416968" y="0"/>
                </a:cubicBezTo>
                <a:cubicBezTo>
                  <a:pt x="2538350" y="-19228"/>
                  <a:pt x="2881247" y="2392"/>
                  <a:pt x="3004879" y="0"/>
                </a:cubicBezTo>
                <a:cubicBezTo>
                  <a:pt x="3128511" y="-2392"/>
                  <a:pt x="3579814" y="34014"/>
                  <a:pt x="3788760" y="0"/>
                </a:cubicBezTo>
                <a:cubicBezTo>
                  <a:pt x="3997706" y="-34014"/>
                  <a:pt x="4196689" y="-18108"/>
                  <a:pt x="4311348" y="0"/>
                </a:cubicBezTo>
                <a:cubicBezTo>
                  <a:pt x="4426007" y="18108"/>
                  <a:pt x="4866662" y="4689"/>
                  <a:pt x="5095229" y="0"/>
                </a:cubicBezTo>
                <a:cubicBezTo>
                  <a:pt x="5323796" y="-4689"/>
                  <a:pt x="5516349" y="-32246"/>
                  <a:pt x="5879111" y="0"/>
                </a:cubicBezTo>
                <a:cubicBezTo>
                  <a:pt x="6241873" y="32246"/>
                  <a:pt x="6206409" y="9054"/>
                  <a:pt x="6532345" y="0"/>
                </a:cubicBezTo>
                <a:cubicBezTo>
                  <a:pt x="6525694" y="85121"/>
                  <a:pt x="6539305" y="236873"/>
                  <a:pt x="6532345" y="373489"/>
                </a:cubicBezTo>
                <a:cubicBezTo>
                  <a:pt x="6525385" y="510105"/>
                  <a:pt x="6543401" y="627492"/>
                  <a:pt x="6532345" y="718248"/>
                </a:cubicBezTo>
                <a:cubicBezTo>
                  <a:pt x="6354250" y="707024"/>
                  <a:pt x="6243908" y="719002"/>
                  <a:pt x="6075081" y="718248"/>
                </a:cubicBezTo>
                <a:cubicBezTo>
                  <a:pt x="5906254" y="717494"/>
                  <a:pt x="5476358" y="732448"/>
                  <a:pt x="5291199" y="718248"/>
                </a:cubicBezTo>
                <a:cubicBezTo>
                  <a:pt x="5106040" y="704048"/>
                  <a:pt x="4902361" y="699861"/>
                  <a:pt x="4768612" y="718248"/>
                </a:cubicBezTo>
                <a:cubicBezTo>
                  <a:pt x="4634863" y="736635"/>
                  <a:pt x="4283042" y="740441"/>
                  <a:pt x="4115377" y="718248"/>
                </a:cubicBezTo>
                <a:cubicBezTo>
                  <a:pt x="3947712" y="696055"/>
                  <a:pt x="3664279" y="744074"/>
                  <a:pt x="3331496" y="718248"/>
                </a:cubicBezTo>
                <a:cubicBezTo>
                  <a:pt x="2998713" y="692422"/>
                  <a:pt x="2911806" y="721672"/>
                  <a:pt x="2678261" y="718248"/>
                </a:cubicBezTo>
                <a:cubicBezTo>
                  <a:pt x="2444716" y="714824"/>
                  <a:pt x="2323219" y="725247"/>
                  <a:pt x="2220997" y="718248"/>
                </a:cubicBezTo>
                <a:cubicBezTo>
                  <a:pt x="2118775" y="711249"/>
                  <a:pt x="1815661" y="716877"/>
                  <a:pt x="1698410" y="718248"/>
                </a:cubicBezTo>
                <a:cubicBezTo>
                  <a:pt x="1581159" y="719619"/>
                  <a:pt x="1214472" y="681759"/>
                  <a:pt x="914528" y="718248"/>
                </a:cubicBezTo>
                <a:cubicBezTo>
                  <a:pt x="614584" y="754737"/>
                  <a:pt x="278757" y="741250"/>
                  <a:pt x="0" y="718248"/>
                </a:cubicBezTo>
                <a:cubicBezTo>
                  <a:pt x="15167" y="643226"/>
                  <a:pt x="-15001" y="481967"/>
                  <a:pt x="0" y="373489"/>
                </a:cubicBezTo>
                <a:cubicBezTo>
                  <a:pt x="15001" y="265011"/>
                  <a:pt x="-11257" y="164017"/>
                  <a:pt x="0" y="0"/>
                </a:cubicBezTo>
                <a:close/>
              </a:path>
            </a:pathLst>
          </a:custGeom>
          <a:ln w="25400">
            <a:solidFill>
              <a:schemeClr val="accent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B15284B-B6CA-A03E-68FD-A7FD1607565F}"/>
              </a:ext>
            </a:extLst>
          </p:cNvPr>
          <p:cNvSpPr/>
          <p:nvPr/>
        </p:nvSpPr>
        <p:spPr>
          <a:xfrm>
            <a:off x="1035980" y="5426308"/>
            <a:ext cx="7723016" cy="158518"/>
          </a:xfrm>
          <a:custGeom>
            <a:avLst/>
            <a:gdLst>
              <a:gd name="connsiteX0" fmla="*/ 0 w 7723016"/>
              <a:gd name="connsiteY0" fmla="*/ 26420 h 158518"/>
              <a:gd name="connsiteX1" fmla="*/ 26420 w 7723016"/>
              <a:gd name="connsiteY1" fmla="*/ 0 h 158518"/>
              <a:gd name="connsiteX2" fmla="*/ 570305 w 7723016"/>
              <a:gd name="connsiteY2" fmla="*/ 0 h 158518"/>
              <a:gd name="connsiteX3" fmla="*/ 1190892 w 7723016"/>
              <a:gd name="connsiteY3" fmla="*/ 0 h 158518"/>
              <a:gd name="connsiteX4" fmla="*/ 1734777 w 7723016"/>
              <a:gd name="connsiteY4" fmla="*/ 0 h 158518"/>
              <a:gd name="connsiteX5" fmla="*/ 2508768 w 7723016"/>
              <a:gd name="connsiteY5" fmla="*/ 0 h 158518"/>
              <a:gd name="connsiteX6" fmla="*/ 3282758 w 7723016"/>
              <a:gd name="connsiteY6" fmla="*/ 0 h 158518"/>
              <a:gd name="connsiteX7" fmla="*/ 4133451 w 7723016"/>
              <a:gd name="connsiteY7" fmla="*/ 0 h 158518"/>
              <a:gd name="connsiteX8" fmla="*/ 4754038 w 7723016"/>
              <a:gd name="connsiteY8" fmla="*/ 0 h 158518"/>
              <a:gd name="connsiteX9" fmla="*/ 5297923 w 7723016"/>
              <a:gd name="connsiteY9" fmla="*/ 0 h 158518"/>
              <a:gd name="connsiteX10" fmla="*/ 6148615 w 7723016"/>
              <a:gd name="connsiteY10" fmla="*/ 0 h 158518"/>
              <a:gd name="connsiteX11" fmla="*/ 6769202 w 7723016"/>
              <a:gd name="connsiteY11" fmla="*/ 0 h 158518"/>
              <a:gd name="connsiteX12" fmla="*/ 7696596 w 7723016"/>
              <a:gd name="connsiteY12" fmla="*/ 0 h 158518"/>
              <a:gd name="connsiteX13" fmla="*/ 7723016 w 7723016"/>
              <a:gd name="connsiteY13" fmla="*/ 26420 h 158518"/>
              <a:gd name="connsiteX14" fmla="*/ 7723016 w 7723016"/>
              <a:gd name="connsiteY14" fmla="*/ 132098 h 158518"/>
              <a:gd name="connsiteX15" fmla="*/ 7696596 w 7723016"/>
              <a:gd name="connsiteY15" fmla="*/ 158518 h 158518"/>
              <a:gd name="connsiteX16" fmla="*/ 7076009 w 7723016"/>
              <a:gd name="connsiteY16" fmla="*/ 158518 h 158518"/>
              <a:gd name="connsiteX17" fmla="*/ 6225317 w 7723016"/>
              <a:gd name="connsiteY17" fmla="*/ 158518 h 158518"/>
              <a:gd name="connsiteX18" fmla="*/ 5528028 w 7723016"/>
              <a:gd name="connsiteY18" fmla="*/ 158518 h 158518"/>
              <a:gd name="connsiteX19" fmla="*/ 4677336 w 7723016"/>
              <a:gd name="connsiteY19" fmla="*/ 158518 h 158518"/>
              <a:gd name="connsiteX20" fmla="*/ 4210152 w 7723016"/>
              <a:gd name="connsiteY20" fmla="*/ 158518 h 158518"/>
              <a:gd name="connsiteX21" fmla="*/ 3512864 w 7723016"/>
              <a:gd name="connsiteY21" fmla="*/ 158518 h 158518"/>
              <a:gd name="connsiteX22" fmla="*/ 2738873 w 7723016"/>
              <a:gd name="connsiteY22" fmla="*/ 158518 h 158518"/>
              <a:gd name="connsiteX23" fmla="*/ 2041584 w 7723016"/>
              <a:gd name="connsiteY23" fmla="*/ 158518 h 158518"/>
              <a:gd name="connsiteX24" fmla="*/ 1420997 w 7723016"/>
              <a:gd name="connsiteY24" fmla="*/ 158518 h 158518"/>
              <a:gd name="connsiteX25" fmla="*/ 953814 w 7723016"/>
              <a:gd name="connsiteY25" fmla="*/ 158518 h 158518"/>
              <a:gd name="connsiteX26" fmla="*/ 26420 w 7723016"/>
              <a:gd name="connsiteY26" fmla="*/ 158518 h 158518"/>
              <a:gd name="connsiteX27" fmla="*/ 0 w 7723016"/>
              <a:gd name="connsiteY27" fmla="*/ 132098 h 158518"/>
              <a:gd name="connsiteX28" fmla="*/ 0 w 7723016"/>
              <a:gd name="connsiteY28" fmla="*/ 26420 h 15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7723016" h="158518" extrusionOk="0">
                <a:moveTo>
                  <a:pt x="0" y="26420"/>
                </a:moveTo>
                <a:cubicBezTo>
                  <a:pt x="741" y="11917"/>
                  <a:pt x="9865" y="-2643"/>
                  <a:pt x="26420" y="0"/>
                </a:cubicBezTo>
                <a:cubicBezTo>
                  <a:pt x="142223" y="11798"/>
                  <a:pt x="424523" y="14710"/>
                  <a:pt x="570305" y="0"/>
                </a:cubicBezTo>
                <a:cubicBezTo>
                  <a:pt x="716087" y="-14710"/>
                  <a:pt x="928227" y="28344"/>
                  <a:pt x="1190892" y="0"/>
                </a:cubicBezTo>
                <a:cubicBezTo>
                  <a:pt x="1453557" y="-28344"/>
                  <a:pt x="1584895" y="5979"/>
                  <a:pt x="1734777" y="0"/>
                </a:cubicBezTo>
                <a:cubicBezTo>
                  <a:pt x="1884660" y="-5979"/>
                  <a:pt x="2212723" y="318"/>
                  <a:pt x="2508768" y="0"/>
                </a:cubicBezTo>
                <a:cubicBezTo>
                  <a:pt x="2804813" y="-318"/>
                  <a:pt x="2916219" y="-13915"/>
                  <a:pt x="3282758" y="0"/>
                </a:cubicBezTo>
                <a:cubicBezTo>
                  <a:pt x="3649297" y="13915"/>
                  <a:pt x="3917073" y="-41372"/>
                  <a:pt x="4133451" y="0"/>
                </a:cubicBezTo>
                <a:cubicBezTo>
                  <a:pt x="4349829" y="41372"/>
                  <a:pt x="4456029" y="23828"/>
                  <a:pt x="4754038" y="0"/>
                </a:cubicBezTo>
                <a:cubicBezTo>
                  <a:pt x="5052047" y="-23828"/>
                  <a:pt x="5098686" y="-3187"/>
                  <a:pt x="5297923" y="0"/>
                </a:cubicBezTo>
                <a:cubicBezTo>
                  <a:pt x="5497160" y="3187"/>
                  <a:pt x="5770570" y="13010"/>
                  <a:pt x="6148615" y="0"/>
                </a:cubicBezTo>
                <a:cubicBezTo>
                  <a:pt x="6526660" y="-13010"/>
                  <a:pt x="6567157" y="19188"/>
                  <a:pt x="6769202" y="0"/>
                </a:cubicBezTo>
                <a:cubicBezTo>
                  <a:pt x="6971247" y="-19188"/>
                  <a:pt x="7277623" y="19097"/>
                  <a:pt x="7696596" y="0"/>
                </a:cubicBezTo>
                <a:cubicBezTo>
                  <a:pt x="7711741" y="2704"/>
                  <a:pt x="7725035" y="14203"/>
                  <a:pt x="7723016" y="26420"/>
                </a:cubicBezTo>
                <a:cubicBezTo>
                  <a:pt x="7720141" y="63577"/>
                  <a:pt x="7719423" y="102198"/>
                  <a:pt x="7723016" y="132098"/>
                </a:cubicBezTo>
                <a:cubicBezTo>
                  <a:pt x="7722359" y="146409"/>
                  <a:pt x="7714099" y="156723"/>
                  <a:pt x="7696596" y="158518"/>
                </a:cubicBezTo>
                <a:cubicBezTo>
                  <a:pt x="7444920" y="141281"/>
                  <a:pt x="7324965" y="189045"/>
                  <a:pt x="7076009" y="158518"/>
                </a:cubicBezTo>
                <a:cubicBezTo>
                  <a:pt x="6827053" y="127991"/>
                  <a:pt x="6620128" y="150842"/>
                  <a:pt x="6225317" y="158518"/>
                </a:cubicBezTo>
                <a:cubicBezTo>
                  <a:pt x="5830506" y="166194"/>
                  <a:pt x="5742047" y="130186"/>
                  <a:pt x="5528028" y="158518"/>
                </a:cubicBezTo>
                <a:cubicBezTo>
                  <a:pt x="5314009" y="186850"/>
                  <a:pt x="5007585" y="178213"/>
                  <a:pt x="4677336" y="158518"/>
                </a:cubicBezTo>
                <a:cubicBezTo>
                  <a:pt x="4347087" y="138823"/>
                  <a:pt x="4304629" y="177373"/>
                  <a:pt x="4210152" y="158518"/>
                </a:cubicBezTo>
                <a:cubicBezTo>
                  <a:pt x="4115675" y="139663"/>
                  <a:pt x="3743726" y="190340"/>
                  <a:pt x="3512864" y="158518"/>
                </a:cubicBezTo>
                <a:cubicBezTo>
                  <a:pt x="3282002" y="126696"/>
                  <a:pt x="3040501" y="192870"/>
                  <a:pt x="2738873" y="158518"/>
                </a:cubicBezTo>
                <a:cubicBezTo>
                  <a:pt x="2437245" y="124166"/>
                  <a:pt x="2385082" y="183274"/>
                  <a:pt x="2041584" y="158518"/>
                </a:cubicBezTo>
                <a:cubicBezTo>
                  <a:pt x="1698086" y="133762"/>
                  <a:pt x="1727991" y="189194"/>
                  <a:pt x="1420997" y="158518"/>
                </a:cubicBezTo>
                <a:cubicBezTo>
                  <a:pt x="1114003" y="127842"/>
                  <a:pt x="1095804" y="173624"/>
                  <a:pt x="953814" y="158518"/>
                </a:cubicBezTo>
                <a:cubicBezTo>
                  <a:pt x="811824" y="143412"/>
                  <a:pt x="361821" y="126177"/>
                  <a:pt x="26420" y="158518"/>
                </a:cubicBezTo>
                <a:cubicBezTo>
                  <a:pt x="10897" y="155980"/>
                  <a:pt x="-463" y="146231"/>
                  <a:pt x="0" y="132098"/>
                </a:cubicBezTo>
                <a:cubicBezTo>
                  <a:pt x="5082" y="104961"/>
                  <a:pt x="1019" y="77909"/>
                  <a:pt x="0" y="26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78868-4C9B-B9B9-4B26-68D2BF865E28}"/>
              </a:ext>
            </a:extLst>
          </p:cNvPr>
          <p:cNvSpPr/>
          <p:nvPr/>
        </p:nvSpPr>
        <p:spPr>
          <a:xfrm>
            <a:off x="1035981" y="5584826"/>
            <a:ext cx="2139020" cy="578352"/>
          </a:xfrm>
          <a:custGeom>
            <a:avLst/>
            <a:gdLst>
              <a:gd name="connsiteX0" fmla="*/ 0 w 2139020"/>
              <a:gd name="connsiteY0" fmla="*/ 96394 h 578352"/>
              <a:gd name="connsiteX1" fmla="*/ 96394 w 2139020"/>
              <a:gd name="connsiteY1" fmla="*/ 0 h 578352"/>
              <a:gd name="connsiteX2" fmla="*/ 706213 w 2139020"/>
              <a:gd name="connsiteY2" fmla="*/ 0 h 578352"/>
              <a:gd name="connsiteX3" fmla="*/ 1335495 w 2139020"/>
              <a:gd name="connsiteY3" fmla="*/ 0 h 578352"/>
              <a:gd name="connsiteX4" fmla="*/ 2042626 w 2139020"/>
              <a:gd name="connsiteY4" fmla="*/ 0 h 578352"/>
              <a:gd name="connsiteX5" fmla="*/ 2139020 w 2139020"/>
              <a:gd name="connsiteY5" fmla="*/ 96394 h 578352"/>
              <a:gd name="connsiteX6" fmla="*/ 2139020 w 2139020"/>
              <a:gd name="connsiteY6" fmla="*/ 481958 h 578352"/>
              <a:gd name="connsiteX7" fmla="*/ 2042626 w 2139020"/>
              <a:gd name="connsiteY7" fmla="*/ 578352 h 578352"/>
              <a:gd name="connsiteX8" fmla="*/ 1374420 w 2139020"/>
              <a:gd name="connsiteY8" fmla="*/ 578352 h 578352"/>
              <a:gd name="connsiteX9" fmla="*/ 745138 w 2139020"/>
              <a:gd name="connsiteY9" fmla="*/ 578352 h 578352"/>
              <a:gd name="connsiteX10" fmla="*/ 96394 w 2139020"/>
              <a:gd name="connsiteY10" fmla="*/ 578352 h 578352"/>
              <a:gd name="connsiteX11" fmla="*/ 0 w 2139020"/>
              <a:gd name="connsiteY11" fmla="*/ 481958 h 578352"/>
              <a:gd name="connsiteX12" fmla="*/ 0 w 2139020"/>
              <a:gd name="connsiteY12" fmla="*/ 96394 h 57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39020" h="578352" extrusionOk="0">
                <a:moveTo>
                  <a:pt x="0" y="96394"/>
                </a:moveTo>
                <a:cubicBezTo>
                  <a:pt x="3577" y="43582"/>
                  <a:pt x="41645" y="-2034"/>
                  <a:pt x="96394" y="0"/>
                </a:cubicBezTo>
                <a:cubicBezTo>
                  <a:pt x="311872" y="4599"/>
                  <a:pt x="436520" y="17624"/>
                  <a:pt x="706213" y="0"/>
                </a:cubicBezTo>
                <a:cubicBezTo>
                  <a:pt x="975906" y="-17624"/>
                  <a:pt x="1200156" y="-794"/>
                  <a:pt x="1335495" y="0"/>
                </a:cubicBezTo>
                <a:cubicBezTo>
                  <a:pt x="1470834" y="794"/>
                  <a:pt x="1900043" y="-23269"/>
                  <a:pt x="2042626" y="0"/>
                </a:cubicBezTo>
                <a:cubicBezTo>
                  <a:pt x="2099133" y="9947"/>
                  <a:pt x="2139342" y="52697"/>
                  <a:pt x="2139020" y="96394"/>
                </a:cubicBezTo>
                <a:cubicBezTo>
                  <a:pt x="2130323" y="217413"/>
                  <a:pt x="2129604" y="329779"/>
                  <a:pt x="2139020" y="481958"/>
                </a:cubicBezTo>
                <a:cubicBezTo>
                  <a:pt x="2145637" y="541400"/>
                  <a:pt x="2090189" y="572569"/>
                  <a:pt x="2042626" y="578352"/>
                </a:cubicBezTo>
                <a:cubicBezTo>
                  <a:pt x="1834702" y="595847"/>
                  <a:pt x="1645569" y="550029"/>
                  <a:pt x="1374420" y="578352"/>
                </a:cubicBezTo>
                <a:cubicBezTo>
                  <a:pt x="1103271" y="606675"/>
                  <a:pt x="960752" y="590712"/>
                  <a:pt x="745138" y="578352"/>
                </a:cubicBezTo>
                <a:cubicBezTo>
                  <a:pt x="529524" y="565992"/>
                  <a:pt x="402068" y="558581"/>
                  <a:pt x="96394" y="578352"/>
                </a:cubicBezTo>
                <a:cubicBezTo>
                  <a:pt x="43655" y="580782"/>
                  <a:pt x="7679" y="544224"/>
                  <a:pt x="0" y="481958"/>
                </a:cubicBezTo>
                <a:cubicBezTo>
                  <a:pt x="15832" y="316431"/>
                  <a:pt x="-9741" y="235160"/>
                  <a:pt x="0" y="9639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E31662A-9ADA-F760-6A69-BF8DD1C2C359}"/>
              </a:ext>
            </a:extLst>
          </p:cNvPr>
          <p:cNvSpPr/>
          <p:nvPr/>
        </p:nvSpPr>
        <p:spPr>
          <a:xfrm>
            <a:off x="2522598" y="3865880"/>
            <a:ext cx="2526921" cy="116840"/>
          </a:xfrm>
          <a:custGeom>
            <a:avLst/>
            <a:gdLst>
              <a:gd name="connsiteX0" fmla="*/ 0 w 2526921"/>
              <a:gd name="connsiteY0" fmla="*/ 19474 h 116840"/>
              <a:gd name="connsiteX1" fmla="*/ 19474 w 2526921"/>
              <a:gd name="connsiteY1" fmla="*/ 0 h 116840"/>
              <a:gd name="connsiteX2" fmla="*/ 591708 w 2526921"/>
              <a:gd name="connsiteY2" fmla="*/ 0 h 116840"/>
              <a:gd name="connsiteX3" fmla="*/ 1188821 w 2526921"/>
              <a:gd name="connsiteY3" fmla="*/ 0 h 116840"/>
              <a:gd name="connsiteX4" fmla="*/ 1761055 w 2526921"/>
              <a:gd name="connsiteY4" fmla="*/ 0 h 116840"/>
              <a:gd name="connsiteX5" fmla="*/ 2507447 w 2526921"/>
              <a:gd name="connsiteY5" fmla="*/ 0 h 116840"/>
              <a:gd name="connsiteX6" fmla="*/ 2526921 w 2526921"/>
              <a:gd name="connsiteY6" fmla="*/ 19474 h 116840"/>
              <a:gd name="connsiteX7" fmla="*/ 2526921 w 2526921"/>
              <a:gd name="connsiteY7" fmla="*/ 97366 h 116840"/>
              <a:gd name="connsiteX8" fmla="*/ 2507447 w 2526921"/>
              <a:gd name="connsiteY8" fmla="*/ 116840 h 116840"/>
              <a:gd name="connsiteX9" fmla="*/ 1960093 w 2526921"/>
              <a:gd name="connsiteY9" fmla="*/ 116840 h 116840"/>
              <a:gd name="connsiteX10" fmla="*/ 1362979 w 2526921"/>
              <a:gd name="connsiteY10" fmla="*/ 116840 h 116840"/>
              <a:gd name="connsiteX11" fmla="*/ 790746 w 2526921"/>
              <a:gd name="connsiteY11" fmla="*/ 116840 h 116840"/>
              <a:gd name="connsiteX12" fmla="*/ 19474 w 2526921"/>
              <a:gd name="connsiteY12" fmla="*/ 116840 h 116840"/>
              <a:gd name="connsiteX13" fmla="*/ 0 w 2526921"/>
              <a:gd name="connsiteY13" fmla="*/ 97366 h 116840"/>
              <a:gd name="connsiteX14" fmla="*/ 0 w 2526921"/>
              <a:gd name="connsiteY14" fmla="*/ 19474 h 11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26921" h="116840" extrusionOk="0">
                <a:moveTo>
                  <a:pt x="0" y="19474"/>
                </a:moveTo>
                <a:cubicBezTo>
                  <a:pt x="2605" y="9028"/>
                  <a:pt x="8312" y="-547"/>
                  <a:pt x="19474" y="0"/>
                </a:cubicBezTo>
                <a:cubicBezTo>
                  <a:pt x="134968" y="11503"/>
                  <a:pt x="358466" y="10810"/>
                  <a:pt x="591708" y="0"/>
                </a:cubicBezTo>
                <a:cubicBezTo>
                  <a:pt x="824950" y="-10810"/>
                  <a:pt x="966096" y="-17533"/>
                  <a:pt x="1188821" y="0"/>
                </a:cubicBezTo>
                <a:cubicBezTo>
                  <a:pt x="1411546" y="17533"/>
                  <a:pt x="1509168" y="-11896"/>
                  <a:pt x="1761055" y="0"/>
                </a:cubicBezTo>
                <a:cubicBezTo>
                  <a:pt x="2012942" y="11896"/>
                  <a:pt x="2262258" y="5506"/>
                  <a:pt x="2507447" y="0"/>
                </a:cubicBezTo>
                <a:cubicBezTo>
                  <a:pt x="2518711" y="116"/>
                  <a:pt x="2528114" y="7286"/>
                  <a:pt x="2526921" y="19474"/>
                </a:cubicBezTo>
                <a:cubicBezTo>
                  <a:pt x="2530805" y="36993"/>
                  <a:pt x="2527167" y="68525"/>
                  <a:pt x="2526921" y="97366"/>
                </a:cubicBezTo>
                <a:cubicBezTo>
                  <a:pt x="2527861" y="106658"/>
                  <a:pt x="2519059" y="116439"/>
                  <a:pt x="2507447" y="116840"/>
                </a:cubicBezTo>
                <a:cubicBezTo>
                  <a:pt x="2262588" y="138391"/>
                  <a:pt x="2103631" y="141961"/>
                  <a:pt x="1960093" y="116840"/>
                </a:cubicBezTo>
                <a:cubicBezTo>
                  <a:pt x="1816555" y="91719"/>
                  <a:pt x="1614631" y="102311"/>
                  <a:pt x="1362979" y="116840"/>
                </a:cubicBezTo>
                <a:cubicBezTo>
                  <a:pt x="1111327" y="131369"/>
                  <a:pt x="996416" y="144159"/>
                  <a:pt x="790746" y="116840"/>
                </a:cubicBezTo>
                <a:cubicBezTo>
                  <a:pt x="585076" y="89521"/>
                  <a:pt x="273389" y="83470"/>
                  <a:pt x="19474" y="116840"/>
                </a:cubicBezTo>
                <a:cubicBezTo>
                  <a:pt x="10028" y="118720"/>
                  <a:pt x="-1596" y="108922"/>
                  <a:pt x="0" y="97366"/>
                </a:cubicBezTo>
                <a:cubicBezTo>
                  <a:pt x="-2084" y="70367"/>
                  <a:pt x="1034" y="35099"/>
                  <a:pt x="0" y="19474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C30568-9FE6-116A-BE85-06ECA4931098}"/>
              </a:ext>
            </a:extLst>
          </p:cNvPr>
          <p:cNvSpPr txBox="1"/>
          <p:nvPr/>
        </p:nvSpPr>
        <p:spPr>
          <a:xfrm>
            <a:off x="8703089" y="5367067"/>
            <a:ext cx="32562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path. host is: management.azure.c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F43C04-39DF-6D68-8641-74A73F1740AA}"/>
              </a:ext>
            </a:extLst>
          </p:cNvPr>
          <p:cNvSpPr txBox="1"/>
          <p:nvPr/>
        </p:nvSpPr>
        <p:spPr>
          <a:xfrm>
            <a:off x="3092436" y="5735502"/>
            <a:ext cx="10786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quest bod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610C28-7A9F-81D9-8E60-280F9580DDA7}"/>
              </a:ext>
            </a:extLst>
          </p:cNvPr>
          <p:cNvSpPr txBox="1"/>
          <p:nvPr/>
        </p:nvSpPr>
        <p:spPr>
          <a:xfrm>
            <a:off x="4592197" y="3637002"/>
            <a:ext cx="19593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ference to request resul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8DD46D-7B16-9F3B-C594-E4BEFC8586E3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8" name="Rectángulo redondeado 14">
              <a:extLst>
                <a:ext uri="{FF2B5EF4-FFF2-40B4-BE49-F238E27FC236}">
                  <a16:creationId xmlns:a16="http://schemas.microsoft.com/office/drawing/2014/main" id="{C55F0861-7869-6B6A-FBC9-7B7EB46FD850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Rectángulo 12">
              <a:extLst>
                <a:ext uri="{FF2B5EF4-FFF2-40B4-BE49-F238E27FC236}">
                  <a16:creationId xmlns:a16="http://schemas.microsoft.com/office/drawing/2014/main" id="{9E755852-A843-B0C8-77CE-F3A2AA7294BE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s UI calls to Azure R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879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MESPath</a:t>
            </a:r>
            <a:endParaRPr lang="en-US" sz="1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887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133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273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564243" y="1492727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specting the schema, we can find “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Microsoft.Solutions.GraphApiControl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”, or 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305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I element colo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0801E8-F853-55A1-B0BF-B346510C4F95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5B8E605-11A7-0CB2-C1CC-BBF02661858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4B00F8B-7FD8-FC2A-1346-44C3FCACD2D2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E5E9B1B-93A4-186C-9246-7C4BB3B5A5FB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7F4EEAB-9733-55D0-2B7C-8E14E8503ECF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11" name="Freeform 78">
                <a:extLst>
                  <a:ext uri="{FF2B5EF4-FFF2-40B4-BE49-F238E27FC236}">
                    <a16:creationId xmlns:a16="http://schemas.microsoft.com/office/drawing/2014/main" id="{DE257E88-44CE-923B-68E9-D7350A809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Freeform 79">
                <a:extLst>
                  <a:ext uri="{FF2B5EF4-FFF2-40B4-BE49-F238E27FC236}">
                    <a16:creationId xmlns:a16="http://schemas.microsoft.com/office/drawing/2014/main" id="{E5147EF5-8090-55B1-D450-52537298E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Freeform 80">
                <a:extLst>
                  <a:ext uri="{FF2B5EF4-FFF2-40B4-BE49-F238E27FC236}">
                    <a16:creationId xmlns:a16="http://schemas.microsoft.com/office/drawing/2014/main" id="{C6AA136D-8C00-5F3A-C612-59E855BD1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81">
                <a:extLst>
                  <a:ext uri="{FF2B5EF4-FFF2-40B4-BE49-F238E27FC236}">
                    <a16:creationId xmlns:a16="http://schemas.microsoft.com/office/drawing/2014/main" id="{FB1F8777-5061-136A-01CB-169E1DD7B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Freeform 82">
                <a:extLst>
                  <a:ext uri="{FF2B5EF4-FFF2-40B4-BE49-F238E27FC236}">
                    <a16:creationId xmlns:a16="http://schemas.microsoft.com/office/drawing/2014/main" id="{6CBE3A71-1EA5-7CDA-6C26-1205C0D99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Freeform 83">
                <a:extLst>
                  <a:ext uri="{FF2B5EF4-FFF2-40B4-BE49-F238E27FC236}">
                    <a16:creationId xmlns:a16="http://schemas.microsoft.com/office/drawing/2014/main" id="{B3264779-B1E7-4464-1572-4372CF38E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Freeform 84">
                <a:extLst>
                  <a:ext uri="{FF2B5EF4-FFF2-40B4-BE49-F238E27FC236}">
                    <a16:creationId xmlns:a16="http://schemas.microsoft.com/office/drawing/2014/main" id="{CC85005A-D5F9-D18A-B386-120AB406F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Freeform 85">
                <a:extLst>
                  <a:ext uri="{FF2B5EF4-FFF2-40B4-BE49-F238E27FC236}">
                    <a16:creationId xmlns:a16="http://schemas.microsoft.com/office/drawing/2014/main" id="{9371E5EE-58EF-1A45-AA0E-2AB25DB15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9" name="Freeform 86">
                <a:extLst>
                  <a:ext uri="{FF2B5EF4-FFF2-40B4-BE49-F238E27FC236}">
                    <a16:creationId xmlns:a16="http://schemas.microsoft.com/office/drawing/2014/main" id="{3C4445A3-30BD-618B-9F17-60BD84821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7">
                <a:extLst>
                  <a:ext uri="{FF2B5EF4-FFF2-40B4-BE49-F238E27FC236}">
                    <a16:creationId xmlns:a16="http://schemas.microsoft.com/office/drawing/2014/main" id="{F7811308-ABB9-701F-BFE1-5F88C894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8">
                <a:extLst>
                  <a:ext uri="{FF2B5EF4-FFF2-40B4-BE49-F238E27FC236}">
                    <a16:creationId xmlns:a16="http://schemas.microsoft.com/office/drawing/2014/main" id="{211C0002-6259-5151-6163-18E516C48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9">
                <a:extLst>
                  <a:ext uri="{FF2B5EF4-FFF2-40B4-BE49-F238E27FC236}">
                    <a16:creationId xmlns:a16="http://schemas.microsoft.com/office/drawing/2014/main" id="{DBB55FB0-68EF-43A5-960F-B59926440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DA5BED8-A5F6-A40C-AE4A-1B3B15AD2787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1C91915-2321-6822-468C-9319D565FE3A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0" name="Rectángulo redondeado 14">
              <a:extLst>
                <a:ext uri="{FF2B5EF4-FFF2-40B4-BE49-F238E27FC236}">
                  <a16:creationId xmlns:a16="http://schemas.microsoft.com/office/drawing/2014/main" id="{F7D9FC3C-81B8-1BAE-4840-958A61BB7352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Rectángulo 12">
              <a:extLst>
                <a:ext uri="{FF2B5EF4-FFF2-40B4-BE49-F238E27FC236}">
                  <a16:creationId xmlns:a16="http://schemas.microsoft.com/office/drawing/2014/main" id="{8E2CCE8B-F133-806C-7677-E968D6542FCD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to Entra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Blades are also described in the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GitHub azure/</a:t>
            </a: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portaldocs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 repo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3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ow to use Azure Portal blades in the Template Specs UI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  <a:hlinkClick r:id="rId4"/>
            </a:endParaRPr>
          </a:p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How to uncover the names and parameters of blades in Azure Portal (gatevnotes.com)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AE0D08-2F2C-0825-D4EC-E03E49A0740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6" name="Rectángulo redondeado 14">
              <a:extLst>
                <a:ext uri="{FF2B5EF4-FFF2-40B4-BE49-F238E27FC236}">
                  <a16:creationId xmlns:a16="http://schemas.microsoft.com/office/drawing/2014/main" id="{1A2B9F26-3D8B-D475-EC95-7D2213221B0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Rectángulo 12">
              <a:extLst>
                <a:ext uri="{FF2B5EF4-FFF2-40B4-BE49-F238E27FC236}">
                  <a16:creationId xmlns:a16="http://schemas.microsoft.com/office/drawing/2014/main" id="{9AA08C52-4FC2-7A2D-EB0A-15410E7F273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Custom UI blad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2" y="163048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B3C69982-4AAB-793E-BBFF-8B4E1A2BB3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855" y="4313570"/>
            <a:ext cx="1963754" cy="196375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0698C19-E0FD-5AF0-B026-2B62E65D06F5}"/>
              </a:ext>
            </a:extLst>
          </p:cNvPr>
          <p:cNvGrpSpPr/>
          <p:nvPr/>
        </p:nvGrpSpPr>
        <p:grpSpPr>
          <a:xfrm>
            <a:off x="7478693" y="3149521"/>
            <a:ext cx="1025861" cy="1089287"/>
            <a:chOff x="6618867" y="3226748"/>
            <a:chExt cx="1025861" cy="108928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6B3B629-B8C8-15FB-A48B-384C2983C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67CC770-08FB-8AE4-530A-478819B22F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170BA1-E1FC-7D2C-BA98-3C42F65E50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B45E0BB-2B32-BB11-85B1-A3A74A8D81C8}"/>
              </a:ext>
            </a:extLst>
          </p:cNvPr>
          <p:cNvGrpSpPr/>
          <p:nvPr/>
        </p:nvGrpSpPr>
        <p:grpSpPr>
          <a:xfrm>
            <a:off x="4002340" y="2355237"/>
            <a:ext cx="2524402" cy="978847"/>
            <a:chOff x="5159830" y="2351275"/>
            <a:chExt cx="2524402" cy="97884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3FF40BB-26DA-E3DD-6351-24DE54E3BD81}"/>
                </a:ext>
              </a:extLst>
            </p:cNvPr>
            <p:cNvGrpSpPr/>
            <p:nvPr/>
          </p:nvGrpSpPr>
          <p:grpSpPr>
            <a:xfrm>
              <a:off x="6579655" y="2360890"/>
              <a:ext cx="1015441" cy="969232"/>
              <a:chOff x="3409768" y="2600757"/>
              <a:chExt cx="1571305" cy="156027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19DB6DD-594A-8956-2C7D-A848844A957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2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91F8EF9C-1BEE-8152-85FD-C1F244475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48D46E8A-F3EF-5447-900A-72F0A07C1A12}"/>
                </a:ext>
              </a:extLst>
            </p:cNvPr>
            <p:cNvSpPr/>
            <p:nvPr/>
          </p:nvSpPr>
          <p:spPr>
            <a:xfrm>
              <a:off x="5159830" y="2351275"/>
              <a:ext cx="2524402" cy="870972"/>
            </a:xfrm>
            <a:custGeom>
              <a:avLst/>
              <a:gdLst>
                <a:gd name="connsiteX0" fmla="*/ 0 w 2524402"/>
                <a:gd name="connsiteY0" fmla="*/ 145165 h 870972"/>
                <a:gd name="connsiteX1" fmla="*/ 145165 w 2524402"/>
                <a:gd name="connsiteY1" fmla="*/ 0 h 870972"/>
                <a:gd name="connsiteX2" fmla="*/ 748364 w 2524402"/>
                <a:gd name="connsiteY2" fmla="*/ 0 h 870972"/>
                <a:gd name="connsiteX3" fmla="*/ 1284542 w 2524402"/>
                <a:gd name="connsiteY3" fmla="*/ 0 h 870972"/>
                <a:gd name="connsiteX4" fmla="*/ 1798378 w 2524402"/>
                <a:gd name="connsiteY4" fmla="*/ 0 h 870972"/>
                <a:gd name="connsiteX5" fmla="*/ 2379237 w 2524402"/>
                <a:gd name="connsiteY5" fmla="*/ 0 h 870972"/>
                <a:gd name="connsiteX6" fmla="*/ 2524402 w 2524402"/>
                <a:gd name="connsiteY6" fmla="*/ 145165 h 870972"/>
                <a:gd name="connsiteX7" fmla="*/ 2524402 w 2524402"/>
                <a:gd name="connsiteY7" fmla="*/ 725807 h 870972"/>
                <a:gd name="connsiteX8" fmla="*/ 2379237 w 2524402"/>
                <a:gd name="connsiteY8" fmla="*/ 870972 h 870972"/>
                <a:gd name="connsiteX9" fmla="*/ 1865400 w 2524402"/>
                <a:gd name="connsiteY9" fmla="*/ 870972 h 870972"/>
                <a:gd name="connsiteX10" fmla="*/ 1306882 w 2524402"/>
                <a:gd name="connsiteY10" fmla="*/ 870972 h 870972"/>
                <a:gd name="connsiteX11" fmla="*/ 770705 w 2524402"/>
                <a:gd name="connsiteY11" fmla="*/ 870972 h 870972"/>
                <a:gd name="connsiteX12" fmla="*/ 145165 w 2524402"/>
                <a:gd name="connsiteY12" fmla="*/ 870972 h 870972"/>
                <a:gd name="connsiteX13" fmla="*/ 0 w 2524402"/>
                <a:gd name="connsiteY13" fmla="*/ 725807 h 870972"/>
                <a:gd name="connsiteX14" fmla="*/ 0 w 2524402"/>
                <a:gd name="connsiteY1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440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00458" y="18209"/>
                    <a:pt x="463932" y="-22702"/>
                    <a:pt x="748364" y="0"/>
                  </a:cubicBezTo>
                  <a:cubicBezTo>
                    <a:pt x="1032796" y="22702"/>
                    <a:pt x="1144762" y="-11028"/>
                    <a:pt x="1284542" y="0"/>
                  </a:cubicBezTo>
                  <a:cubicBezTo>
                    <a:pt x="1424322" y="11028"/>
                    <a:pt x="1594799" y="-3746"/>
                    <a:pt x="1798378" y="0"/>
                  </a:cubicBezTo>
                  <a:cubicBezTo>
                    <a:pt x="2001957" y="3746"/>
                    <a:pt x="2179491" y="-12282"/>
                    <a:pt x="2379237" y="0"/>
                  </a:cubicBezTo>
                  <a:cubicBezTo>
                    <a:pt x="2467832" y="-17333"/>
                    <a:pt x="2518177" y="64040"/>
                    <a:pt x="2524402" y="145165"/>
                  </a:cubicBezTo>
                  <a:cubicBezTo>
                    <a:pt x="2523724" y="283097"/>
                    <a:pt x="2542239" y="436287"/>
                    <a:pt x="2524402" y="725807"/>
                  </a:cubicBezTo>
                  <a:cubicBezTo>
                    <a:pt x="2523003" y="808293"/>
                    <a:pt x="2453448" y="864058"/>
                    <a:pt x="2379237" y="870972"/>
                  </a:cubicBezTo>
                  <a:cubicBezTo>
                    <a:pt x="2151335" y="891722"/>
                    <a:pt x="1999314" y="863341"/>
                    <a:pt x="1865400" y="870972"/>
                  </a:cubicBezTo>
                  <a:cubicBezTo>
                    <a:pt x="1731486" y="878603"/>
                    <a:pt x="1564917" y="867392"/>
                    <a:pt x="1306882" y="870972"/>
                  </a:cubicBezTo>
                  <a:cubicBezTo>
                    <a:pt x="1048847" y="874552"/>
                    <a:pt x="945230" y="879456"/>
                    <a:pt x="770705" y="870972"/>
                  </a:cubicBezTo>
                  <a:cubicBezTo>
                    <a:pt x="596180" y="862488"/>
                    <a:pt x="407705" y="881297"/>
                    <a:pt x="145165" y="870972"/>
                  </a:cubicBezTo>
                  <a:cubicBezTo>
                    <a:pt x="71516" y="862874"/>
                    <a:pt x="-7474" y="803090"/>
                    <a:pt x="0" y="725807"/>
                  </a:cubicBezTo>
                  <a:cubicBezTo>
                    <a:pt x="-12566" y="560420"/>
                    <a:pt x="21171" y="359004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rtal User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3B6213-071E-8360-55C9-2E76F5618D4B}"/>
              </a:ext>
            </a:extLst>
          </p:cNvPr>
          <p:cNvGrpSpPr/>
          <p:nvPr/>
        </p:nvGrpSpPr>
        <p:grpSpPr>
          <a:xfrm>
            <a:off x="290310" y="3266167"/>
            <a:ext cx="6236432" cy="913743"/>
            <a:chOff x="1447800" y="3262205"/>
            <a:chExt cx="6236432" cy="913743"/>
          </a:xfrm>
        </p:grpSpPr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C9A4960-2CB1-493F-32B5-BF486C55C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3262205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A659272-B513-58A4-7248-1AAEA048A774}"/>
                </a:ext>
              </a:extLst>
            </p:cNvPr>
            <p:cNvSpPr/>
            <p:nvPr/>
          </p:nvSpPr>
          <p:spPr>
            <a:xfrm>
              <a:off x="1447800" y="3283591"/>
              <a:ext cx="6236432" cy="870972"/>
            </a:xfrm>
            <a:custGeom>
              <a:avLst/>
              <a:gdLst>
                <a:gd name="connsiteX0" fmla="*/ 0 w 6236432"/>
                <a:gd name="connsiteY0" fmla="*/ 145165 h 870972"/>
                <a:gd name="connsiteX1" fmla="*/ 145165 w 6236432"/>
                <a:gd name="connsiteY1" fmla="*/ 0 h 870972"/>
                <a:gd name="connsiteX2" fmla="*/ 924765 w 6236432"/>
                <a:gd name="connsiteY2" fmla="*/ 0 h 870972"/>
                <a:gd name="connsiteX3" fmla="*/ 1525982 w 6236432"/>
                <a:gd name="connsiteY3" fmla="*/ 0 h 870972"/>
                <a:gd name="connsiteX4" fmla="*/ 2067738 w 6236432"/>
                <a:gd name="connsiteY4" fmla="*/ 0 h 870972"/>
                <a:gd name="connsiteX5" fmla="*/ 2787877 w 6236432"/>
                <a:gd name="connsiteY5" fmla="*/ 0 h 870972"/>
                <a:gd name="connsiteX6" fmla="*/ 3389094 w 6236432"/>
                <a:gd name="connsiteY6" fmla="*/ 0 h 870972"/>
                <a:gd name="connsiteX7" fmla="*/ 4168694 w 6236432"/>
                <a:gd name="connsiteY7" fmla="*/ 0 h 870972"/>
                <a:gd name="connsiteX8" fmla="*/ 4710450 w 6236432"/>
                <a:gd name="connsiteY8" fmla="*/ 0 h 870972"/>
                <a:gd name="connsiteX9" fmla="*/ 5490050 w 6236432"/>
                <a:gd name="connsiteY9" fmla="*/ 0 h 870972"/>
                <a:gd name="connsiteX10" fmla="*/ 6091267 w 6236432"/>
                <a:gd name="connsiteY10" fmla="*/ 0 h 870972"/>
                <a:gd name="connsiteX11" fmla="*/ 6236432 w 6236432"/>
                <a:gd name="connsiteY11" fmla="*/ 145165 h 870972"/>
                <a:gd name="connsiteX12" fmla="*/ 6236432 w 6236432"/>
                <a:gd name="connsiteY12" fmla="*/ 725807 h 870972"/>
                <a:gd name="connsiteX13" fmla="*/ 6091267 w 6236432"/>
                <a:gd name="connsiteY13" fmla="*/ 870972 h 870972"/>
                <a:gd name="connsiteX14" fmla="*/ 5430589 w 6236432"/>
                <a:gd name="connsiteY14" fmla="*/ 870972 h 870972"/>
                <a:gd name="connsiteX15" fmla="*/ 4769911 w 6236432"/>
                <a:gd name="connsiteY15" fmla="*/ 870972 h 870972"/>
                <a:gd name="connsiteX16" fmla="*/ 3990311 w 6236432"/>
                <a:gd name="connsiteY16" fmla="*/ 870972 h 870972"/>
                <a:gd name="connsiteX17" fmla="*/ 3329633 w 6236432"/>
                <a:gd name="connsiteY17" fmla="*/ 870972 h 870972"/>
                <a:gd name="connsiteX18" fmla="*/ 2847338 w 6236432"/>
                <a:gd name="connsiteY18" fmla="*/ 870972 h 870972"/>
                <a:gd name="connsiteX19" fmla="*/ 2305582 w 6236432"/>
                <a:gd name="connsiteY19" fmla="*/ 870972 h 870972"/>
                <a:gd name="connsiteX20" fmla="*/ 1525982 w 6236432"/>
                <a:gd name="connsiteY20" fmla="*/ 870972 h 870972"/>
                <a:gd name="connsiteX21" fmla="*/ 865304 w 6236432"/>
                <a:gd name="connsiteY21" fmla="*/ 870972 h 870972"/>
                <a:gd name="connsiteX22" fmla="*/ 145165 w 6236432"/>
                <a:gd name="connsiteY22" fmla="*/ 870972 h 870972"/>
                <a:gd name="connsiteX23" fmla="*/ 0 w 6236432"/>
                <a:gd name="connsiteY23" fmla="*/ 725807 h 870972"/>
                <a:gd name="connsiteX24" fmla="*/ 0 w 6236432"/>
                <a:gd name="connsiteY24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643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517727" y="20843"/>
                    <a:pt x="628589" y="-20231"/>
                    <a:pt x="924765" y="0"/>
                  </a:cubicBezTo>
                  <a:cubicBezTo>
                    <a:pt x="1220941" y="20231"/>
                    <a:pt x="1335060" y="11032"/>
                    <a:pt x="1525982" y="0"/>
                  </a:cubicBezTo>
                  <a:cubicBezTo>
                    <a:pt x="1716904" y="-11032"/>
                    <a:pt x="1922366" y="-23589"/>
                    <a:pt x="2067738" y="0"/>
                  </a:cubicBezTo>
                  <a:cubicBezTo>
                    <a:pt x="2213110" y="23589"/>
                    <a:pt x="2449000" y="28805"/>
                    <a:pt x="2787877" y="0"/>
                  </a:cubicBezTo>
                  <a:cubicBezTo>
                    <a:pt x="3126754" y="-28805"/>
                    <a:pt x="3121507" y="-3469"/>
                    <a:pt x="3389094" y="0"/>
                  </a:cubicBezTo>
                  <a:cubicBezTo>
                    <a:pt x="3656681" y="3469"/>
                    <a:pt x="3782955" y="35219"/>
                    <a:pt x="4168694" y="0"/>
                  </a:cubicBezTo>
                  <a:cubicBezTo>
                    <a:pt x="4554433" y="-35219"/>
                    <a:pt x="4498937" y="131"/>
                    <a:pt x="4710450" y="0"/>
                  </a:cubicBezTo>
                  <a:cubicBezTo>
                    <a:pt x="4921963" y="-131"/>
                    <a:pt x="5157343" y="5839"/>
                    <a:pt x="5490050" y="0"/>
                  </a:cubicBezTo>
                  <a:cubicBezTo>
                    <a:pt x="5822757" y="-5839"/>
                    <a:pt x="5851435" y="8407"/>
                    <a:pt x="6091267" y="0"/>
                  </a:cubicBezTo>
                  <a:cubicBezTo>
                    <a:pt x="6163637" y="-446"/>
                    <a:pt x="6243186" y="46473"/>
                    <a:pt x="6236432" y="145165"/>
                  </a:cubicBezTo>
                  <a:cubicBezTo>
                    <a:pt x="6242131" y="373351"/>
                    <a:pt x="6253856" y="495594"/>
                    <a:pt x="6236432" y="725807"/>
                  </a:cubicBezTo>
                  <a:cubicBezTo>
                    <a:pt x="6249015" y="821392"/>
                    <a:pt x="6182646" y="861159"/>
                    <a:pt x="6091267" y="870972"/>
                  </a:cubicBezTo>
                  <a:cubicBezTo>
                    <a:pt x="5922880" y="845600"/>
                    <a:pt x="5611686" y="856693"/>
                    <a:pt x="5430589" y="870972"/>
                  </a:cubicBezTo>
                  <a:cubicBezTo>
                    <a:pt x="5249492" y="885251"/>
                    <a:pt x="4936735" y="876352"/>
                    <a:pt x="4769911" y="870972"/>
                  </a:cubicBezTo>
                  <a:cubicBezTo>
                    <a:pt x="4603087" y="865592"/>
                    <a:pt x="4203966" y="854272"/>
                    <a:pt x="3990311" y="870972"/>
                  </a:cubicBezTo>
                  <a:cubicBezTo>
                    <a:pt x="3776656" y="887672"/>
                    <a:pt x="3632581" y="892763"/>
                    <a:pt x="3329633" y="870972"/>
                  </a:cubicBezTo>
                  <a:cubicBezTo>
                    <a:pt x="3026685" y="849181"/>
                    <a:pt x="3016190" y="864735"/>
                    <a:pt x="2847338" y="870972"/>
                  </a:cubicBezTo>
                  <a:cubicBezTo>
                    <a:pt x="2678486" y="877209"/>
                    <a:pt x="2505138" y="895154"/>
                    <a:pt x="2305582" y="870972"/>
                  </a:cubicBezTo>
                  <a:cubicBezTo>
                    <a:pt x="2106026" y="846790"/>
                    <a:pt x="1810298" y="890584"/>
                    <a:pt x="1525982" y="870972"/>
                  </a:cubicBezTo>
                  <a:cubicBezTo>
                    <a:pt x="1241666" y="851360"/>
                    <a:pt x="1083598" y="901184"/>
                    <a:pt x="865304" y="870972"/>
                  </a:cubicBezTo>
                  <a:cubicBezTo>
                    <a:pt x="647010" y="840760"/>
                    <a:pt x="303452" y="879368"/>
                    <a:pt x="145165" y="870972"/>
                  </a:cubicBezTo>
                  <a:cubicBezTo>
                    <a:pt x="64380" y="854445"/>
                    <a:pt x="12472" y="808580"/>
                    <a:pt x="0" y="725807"/>
                  </a:cubicBezTo>
                  <a:cubicBezTo>
                    <a:pt x="26606" y="505643"/>
                    <a:pt x="-22211" y="341303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ResourceManagerTemplateDeployment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20AE23B-D220-AC30-9A1F-1FCE4447D838}"/>
              </a:ext>
            </a:extLst>
          </p:cNvPr>
          <p:cNvGrpSpPr/>
          <p:nvPr/>
        </p:nvGrpSpPr>
        <p:grpSpPr>
          <a:xfrm>
            <a:off x="3149600" y="4212240"/>
            <a:ext cx="3377142" cy="913743"/>
            <a:chOff x="4307090" y="4208278"/>
            <a:chExt cx="3377142" cy="913743"/>
          </a:xfrm>
        </p:grpSpPr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2D24DA17-1E83-4F84-FD51-3D37C7E4A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354" y="4208278"/>
              <a:ext cx="913743" cy="91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5205857-4428-0011-87EE-BB959CA68568}"/>
                </a:ext>
              </a:extLst>
            </p:cNvPr>
            <p:cNvSpPr/>
            <p:nvPr/>
          </p:nvSpPr>
          <p:spPr>
            <a:xfrm>
              <a:off x="4307090" y="4229664"/>
              <a:ext cx="3377142" cy="870972"/>
            </a:xfrm>
            <a:custGeom>
              <a:avLst/>
              <a:gdLst>
                <a:gd name="connsiteX0" fmla="*/ 0 w 3377142"/>
                <a:gd name="connsiteY0" fmla="*/ 145165 h 870972"/>
                <a:gd name="connsiteX1" fmla="*/ 145165 w 3377142"/>
                <a:gd name="connsiteY1" fmla="*/ 0 h 870972"/>
                <a:gd name="connsiteX2" fmla="*/ 824264 w 3377142"/>
                <a:gd name="connsiteY2" fmla="*/ 0 h 870972"/>
                <a:gd name="connsiteX3" fmla="*/ 1410758 w 3377142"/>
                <a:gd name="connsiteY3" fmla="*/ 0 h 870972"/>
                <a:gd name="connsiteX4" fmla="*/ 1966384 w 3377142"/>
                <a:gd name="connsiteY4" fmla="*/ 0 h 870972"/>
                <a:gd name="connsiteX5" fmla="*/ 2614615 w 3377142"/>
                <a:gd name="connsiteY5" fmla="*/ 0 h 870972"/>
                <a:gd name="connsiteX6" fmla="*/ 3231977 w 3377142"/>
                <a:gd name="connsiteY6" fmla="*/ 0 h 870972"/>
                <a:gd name="connsiteX7" fmla="*/ 3377142 w 3377142"/>
                <a:gd name="connsiteY7" fmla="*/ 145165 h 870972"/>
                <a:gd name="connsiteX8" fmla="*/ 3377142 w 3377142"/>
                <a:gd name="connsiteY8" fmla="*/ 725807 h 870972"/>
                <a:gd name="connsiteX9" fmla="*/ 3231977 w 3377142"/>
                <a:gd name="connsiteY9" fmla="*/ 870972 h 870972"/>
                <a:gd name="connsiteX10" fmla="*/ 2614615 w 3377142"/>
                <a:gd name="connsiteY10" fmla="*/ 870972 h 870972"/>
                <a:gd name="connsiteX11" fmla="*/ 2028120 w 3377142"/>
                <a:gd name="connsiteY11" fmla="*/ 870972 h 870972"/>
                <a:gd name="connsiteX12" fmla="*/ 1349022 w 3377142"/>
                <a:gd name="connsiteY12" fmla="*/ 870972 h 870972"/>
                <a:gd name="connsiteX13" fmla="*/ 669923 w 3377142"/>
                <a:gd name="connsiteY13" fmla="*/ 870972 h 870972"/>
                <a:gd name="connsiteX14" fmla="*/ 145165 w 3377142"/>
                <a:gd name="connsiteY14" fmla="*/ 870972 h 870972"/>
                <a:gd name="connsiteX15" fmla="*/ 0 w 3377142"/>
                <a:gd name="connsiteY15" fmla="*/ 725807 h 870972"/>
                <a:gd name="connsiteX16" fmla="*/ 0 w 3377142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77142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60975" y="32271"/>
                    <a:pt x="535059" y="-16969"/>
                    <a:pt x="824264" y="0"/>
                  </a:cubicBezTo>
                  <a:cubicBezTo>
                    <a:pt x="1113469" y="16969"/>
                    <a:pt x="1138118" y="310"/>
                    <a:pt x="1410758" y="0"/>
                  </a:cubicBezTo>
                  <a:cubicBezTo>
                    <a:pt x="1683398" y="-310"/>
                    <a:pt x="1710301" y="20107"/>
                    <a:pt x="1966384" y="0"/>
                  </a:cubicBezTo>
                  <a:cubicBezTo>
                    <a:pt x="2222467" y="-20107"/>
                    <a:pt x="2460714" y="-24327"/>
                    <a:pt x="2614615" y="0"/>
                  </a:cubicBezTo>
                  <a:cubicBezTo>
                    <a:pt x="2768516" y="24327"/>
                    <a:pt x="3055549" y="-28289"/>
                    <a:pt x="3231977" y="0"/>
                  </a:cubicBezTo>
                  <a:cubicBezTo>
                    <a:pt x="3316191" y="-6577"/>
                    <a:pt x="3366502" y="74344"/>
                    <a:pt x="3377142" y="145165"/>
                  </a:cubicBezTo>
                  <a:cubicBezTo>
                    <a:pt x="3363144" y="324747"/>
                    <a:pt x="3385984" y="514745"/>
                    <a:pt x="3377142" y="725807"/>
                  </a:cubicBezTo>
                  <a:cubicBezTo>
                    <a:pt x="3391111" y="809338"/>
                    <a:pt x="3296751" y="868481"/>
                    <a:pt x="3231977" y="870972"/>
                  </a:cubicBezTo>
                  <a:cubicBezTo>
                    <a:pt x="3084446" y="840878"/>
                    <a:pt x="2835155" y="890646"/>
                    <a:pt x="2614615" y="870972"/>
                  </a:cubicBezTo>
                  <a:cubicBezTo>
                    <a:pt x="2394075" y="851298"/>
                    <a:pt x="2207433" y="873029"/>
                    <a:pt x="2028120" y="870972"/>
                  </a:cubicBezTo>
                  <a:cubicBezTo>
                    <a:pt x="1848807" y="868915"/>
                    <a:pt x="1611583" y="894795"/>
                    <a:pt x="1349022" y="870972"/>
                  </a:cubicBezTo>
                  <a:cubicBezTo>
                    <a:pt x="1086461" y="847149"/>
                    <a:pt x="874635" y="867622"/>
                    <a:pt x="669923" y="870972"/>
                  </a:cubicBezTo>
                  <a:cubicBezTo>
                    <a:pt x="465211" y="874322"/>
                    <a:pt x="404217" y="886759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sk: </a:t>
              </a:r>
              <a:r>
                <a:rPr lang="en-US" i="0" dirty="0" err="1">
                  <a:solidFill>
                    <a:srgbClr val="161616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zure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5B2D145-8249-1C40-FA8B-2AA5B1C3C8B3}"/>
              </a:ext>
            </a:extLst>
          </p:cNvPr>
          <p:cNvGrpSpPr/>
          <p:nvPr/>
        </p:nvGrpSpPr>
        <p:grpSpPr>
          <a:xfrm>
            <a:off x="8951103" y="4260322"/>
            <a:ext cx="3151997" cy="870972"/>
            <a:chOff x="4528457" y="5219932"/>
            <a:chExt cx="3155775" cy="87097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3368DF5-B76E-B270-5D42-C47A0C92AD76}"/>
                </a:ext>
              </a:extLst>
            </p:cNvPr>
            <p:cNvSpPr/>
            <p:nvPr/>
          </p:nvSpPr>
          <p:spPr>
            <a:xfrm>
              <a:off x="4528457" y="5219932"/>
              <a:ext cx="3155775" cy="870972"/>
            </a:xfrm>
            <a:custGeom>
              <a:avLst/>
              <a:gdLst>
                <a:gd name="connsiteX0" fmla="*/ 0 w 3151997"/>
                <a:gd name="connsiteY0" fmla="*/ 145165 h 870972"/>
                <a:gd name="connsiteX1" fmla="*/ 145165 w 3151997"/>
                <a:gd name="connsiteY1" fmla="*/ 0 h 870972"/>
                <a:gd name="connsiteX2" fmla="*/ 774732 w 3151997"/>
                <a:gd name="connsiteY2" fmla="*/ 0 h 870972"/>
                <a:gd name="connsiteX3" fmla="*/ 1318448 w 3151997"/>
                <a:gd name="connsiteY3" fmla="*/ 0 h 870972"/>
                <a:gd name="connsiteX4" fmla="*/ 1833549 w 3151997"/>
                <a:gd name="connsiteY4" fmla="*/ 0 h 870972"/>
                <a:gd name="connsiteX5" fmla="*/ 2434499 w 3151997"/>
                <a:gd name="connsiteY5" fmla="*/ 0 h 870972"/>
                <a:gd name="connsiteX6" fmla="*/ 3006832 w 3151997"/>
                <a:gd name="connsiteY6" fmla="*/ 0 h 870972"/>
                <a:gd name="connsiteX7" fmla="*/ 3151997 w 3151997"/>
                <a:gd name="connsiteY7" fmla="*/ 145165 h 870972"/>
                <a:gd name="connsiteX8" fmla="*/ 3151997 w 3151997"/>
                <a:gd name="connsiteY8" fmla="*/ 725807 h 870972"/>
                <a:gd name="connsiteX9" fmla="*/ 3006832 w 3151997"/>
                <a:gd name="connsiteY9" fmla="*/ 870972 h 870972"/>
                <a:gd name="connsiteX10" fmla="*/ 2434499 w 3151997"/>
                <a:gd name="connsiteY10" fmla="*/ 870972 h 870972"/>
                <a:gd name="connsiteX11" fmla="*/ 1890782 w 3151997"/>
                <a:gd name="connsiteY11" fmla="*/ 870972 h 870972"/>
                <a:gd name="connsiteX12" fmla="*/ 1261215 w 3151997"/>
                <a:gd name="connsiteY12" fmla="*/ 870972 h 870972"/>
                <a:gd name="connsiteX13" fmla="*/ 631648 w 3151997"/>
                <a:gd name="connsiteY13" fmla="*/ 870972 h 870972"/>
                <a:gd name="connsiteX14" fmla="*/ 145165 w 3151997"/>
                <a:gd name="connsiteY14" fmla="*/ 870972 h 870972"/>
                <a:gd name="connsiteX15" fmla="*/ 0 w 3151997"/>
                <a:gd name="connsiteY15" fmla="*/ 725807 h 870972"/>
                <a:gd name="connsiteX16" fmla="*/ 0 w 3151997"/>
                <a:gd name="connsiteY16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51997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288281" y="-12477"/>
                    <a:pt x="554253" y="-2983"/>
                    <a:pt x="774732" y="0"/>
                  </a:cubicBezTo>
                  <a:cubicBezTo>
                    <a:pt x="995211" y="2983"/>
                    <a:pt x="1077866" y="-25515"/>
                    <a:pt x="1318448" y="0"/>
                  </a:cubicBezTo>
                  <a:cubicBezTo>
                    <a:pt x="1559030" y="25515"/>
                    <a:pt x="1603152" y="-945"/>
                    <a:pt x="1833549" y="0"/>
                  </a:cubicBezTo>
                  <a:cubicBezTo>
                    <a:pt x="2063946" y="945"/>
                    <a:pt x="2146817" y="-23141"/>
                    <a:pt x="2434499" y="0"/>
                  </a:cubicBezTo>
                  <a:cubicBezTo>
                    <a:pt x="2722181" y="23141"/>
                    <a:pt x="2775512" y="-27469"/>
                    <a:pt x="3006832" y="0"/>
                  </a:cubicBezTo>
                  <a:cubicBezTo>
                    <a:pt x="3091046" y="-6577"/>
                    <a:pt x="3141357" y="74344"/>
                    <a:pt x="3151997" y="145165"/>
                  </a:cubicBezTo>
                  <a:cubicBezTo>
                    <a:pt x="3137999" y="324747"/>
                    <a:pt x="3160839" y="514745"/>
                    <a:pt x="3151997" y="725807"/>
                  </a:cubicBezTo>
                  <a:cubicBezTo>
                    <a:pt x="3165966" y="809338"/>
                    <a:pt x="3071606" y="868481"/>
                    <a:pt x="3006832" y="870972"/>
                  </a:cubicBezTo>
                  <a:cubicBezTo>
                    <a:pt x="2867838" y="858533"/>
                    <a:pt x="2562065" y="870246"/>
                    <a:pt x="2434499" y="870972"/>
                  </a:cubicBezTo>
                  <a:cubicBezTo>
                    <a:pt x="2306933" y="871698"/>
                    <a:pt x="2068966" y="844868"/>
                    <a:pt x="1890782" y="870972"/>
                  </a:cubicBezTo>
                  <a:cubicBezTo>
                    <a:pt x="1712598" y="897076"/>
                    <a:pt x="1480810" y="855701"/>
                    <a:pt x="1261215" y="870972"/>
                  </a:cubicBezTo>
                  <a:cubicBezTo>
                    <a:pt x="1041620" y="886243"/>
                    <a:pt x="872986" y="886580"/>
                    <a:pt x="631648" y="870972"/>
                  </a:cubicBezTo>
                  <a:cubicBezTo>
                    <a:pt x="390310" y="855364"/>
                    <a:pt x="377129" y="863455"/>
                    <a:pt x="145165" y="870972"/>
                  </a:cubicBezTo>
                  <a:cubicBezTo>
                    <a:pt x="54706" y="861280"/>
                    <a:pt x="-3061" y="801403"/>
                    <a:pt x="0" y="725807"/>
                  </a:cubicBezTo>
                  <a:cubicBezTo>
                    <a:pt x="-1635" y="483453"/>
                    <a:pt x="21514" y="270937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  <a:hlinkClick r:id="rId7"/>
                </a:rPr>
                <a:t>Bicep/Arm Templates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6" name="Picture 2" descr="Bicep for Visual Studio">
              <a:extLst>
                <a:ext uri="{FF2B5EF4-FFF2-40B4-BE49-F238E27FC236}">
                  <a16:creationId xmlns:a16="http://schemas.microsoft.com/office/drawing/2014/main" id="{52948F0E-231C-5177-D1A6-8BE8665290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282201"/>
              <a:ext cx="723686" cy="72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7B2B6E-DFB0-193B-AE75-7443DAEC3C95}"/>
              </a:ext>
            </a:extLst>
          </p:cNvPr>
          <p:cNvGrpSpPr/>
          <p:nvPr/>
        </p:nvGrpSpPr>
        <p:grpSpPr>
          <a:xfrm>
            <a:off x="8951103" y="3333583"/>
            <a:ext cx="2065159" cy="874255"/>
            <a:chOff x="1950358" y="5216649"/>
            <a:chExt cx="2065159" cy="87425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FB78E60-2E45-8BBB-84DF-E8823F4588B4}"/>
                </a:ext>
              </a:extLst>
            </p:cNvPr>
            <p:cNvSpPr/>
            <p:nvPr/>
          </p:nvSpPr>
          <p:spPr>
            <a:xfrm>
              <a:off x="1959429" y="5219932"/>
              <a:ext cx="2056088" cy="870972"/>
            </a:xfrm>
            <a:custGeom>
              <a:avLst/>
              <a:gdLst>
                <a:gd name="connsiteX0" fmla="*/ 0 w 2056088"/>
                <a:gd name="connsiteY0" fmla="*/ 145165 h 870972"/>
                <a:gd name="connsiteX1" fmla="*/ 145165 w 2056088"/>
                <a:gd name="connsiteY1" fmla="*/ 0 h 870972"/>
                <a:gd name="connsiteX2" fmla="*/ 769066 w 2056088"/>
                <a:gd name="connsiteY2" fmla="*/ 0 h 870972"/>
                <a:gd name="connsiteX3" fmla="*/ 1339995 w 2056088"/>
                <a:gd name="connsiteY3" fmla="*/ 0 h 870972"/>
                <a:gd name="connsiteX4" fmla="*/ 1910923 w 2056088"/>
                <a:gd name="connsiteY4" fmla="*/ 0 h 870972"/>
                <a:gd name="connsiteX5" fmla="*/ 2056088 w 2056088"/>
                <a:gd name="connsiteY5" fmla="*/ 145165 h 870972"/>
                <a:gd name="connsiteX6" fmla="*/ 2056088 w 2056088"/>
                <a:gd name="connsiteY6" fmla="*/ 725807 h 870972"/>
                <a:gd name="connsiteX7" fmla="*/ 1910923 w 2056088"/>
                <a:gd name="connsiteY7" fmla="*/ 870972 h 870972"/>
                <a:gd name="connsiteX8" fmla="*/ 1357652 w 2056088"/>
                <a:gd name="connsiteY8" fmla="*/ 870972 h 870972"/>
                <a:gd name="connsiteX9" fmla="*/ 769066 w 2056088"/>
                <a:gd name="connsiteY9" fmla="*/ 870972 h 870972"/>
                <a:gd name="connsiteX10" fmla="*/ 145165 w 2056088"/>
                <a:gd name="connsiteY10" fmla="*/ 870972 h 870972"/>
                <a:gd name="connsiteX11" fmla="*/ 0 w 2056088"/>
                <a:gd name="connsiteY11" fmla="*/ 725807 h 870972"/>
                <a:gd name="connsiteX12" fmla="*/ 0 w 205608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08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317572" y="-29342"/>
                    <a:pt x="500561" y="17411"/>
                    <a:pt x="769066" y="0"/>
                  </a:cubicBezTo>
                  <a:cubicBezTo>
                    <a:pt x="1037571" y="-17411"/>
                    <a:pt x="1080018" y="-17002"/>
                    <a:pt x="1339995" y="0"/>
                  </a:cubicBezTo>
                  <a:cubicBezTo>
                    <a:pt x="1599972" y="17002"/>
                    <a:pt x="1695949" y="-26150"/>
                    <a:pt x="1910923" y="0"/>
                  </a:cubicBezTo>
                  <a:cubicBezTo>
                    <a:pt x="1988117" y="-9592"/>
                    <a:pt x="2059434" y="52611"/>
                    <a:pt x="2056088" y="145165"/>
                  </a:cubicBezTo>
                  <a:cubicBezTo>
                    <a:pt x="2059913" y="327905"/>
                    <a:pt x="2046359" y="564412"/>
                    <a:pt x="2056088" y="725807"/>
                  </a:cubicBezTo>
                  <a:cubicBezTo>
                    <a:pt x="2055792" y="803157"/>
                    <a:pt x="1988268" y="874901"/>
                    <a:pt x="1910923" y="870972"/>
                  </a:cubicBezTo>
                  <a:cubicBezTo>
                    <a:pt x="1687605" y="879928"/>
                    <a:pt x="1486840" y="856991"/>
                    <a:pt x="1357652" y="870972"/>
                  </a:cubicBezTo>
                  <a:cubicBezTo>
                    <a:pt x="1228464" y="884953"/>
                    <a:pt x="1003599" y="898678"/>
                    <a:pt x="769066" y="870972"/>
                  </a:cubicBezTo>
                  <a:cubicBezTo>
                    <a:pt x="534533" y="843266"/>
                    <a:pt x="348946" y="86587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owerShell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CF79A0D-A66F-60C4-38EE-DDF3683E6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358" y="5216649"/>
              <a:ext cx="869784" cy="86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E188643-D8F5-945B-43BA-7439435E8A7D}"/>
              </a:ext>
            </a:extLst>
          </p:cNvPr>
          <p:cNvGrpSpPr/>
          <p:nvPr/>
        </p:nvGrpSpPr>
        <p:grpSpPr>
          <a:xfrm>
            <a:off x="8863387" y="2362020"/>
            <a:ext cx="1962184" cy="998141"/>
            <a:chOff x="1272998" y="2263995"/>
            <a:chExt cx="1962184" cy="99814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8333DA7-EDB2-1482-14CF-29FC378A2E2F}"/>
                </a:ext>
              </a:extLst>
            </p:cNvPr>
            <p:cNvSpPr/>
            <p:nvPr/>
          </p:nvSpPr>
          <p:spPr>
            <a:xfrm>
              <a:off x="1360714" y="2302317"/>
              <a:ext cx="1874468" cy="870972"/>
            </a:xfrm>
            <a:custGeom>
              <a:avLst/>
              <a:gdLst>
                <a:gd name="connsiteX0" fmla="*/ 0 w 1874468"/>
                <a:gd name="connsiteY0" fmla="*/ 145165 h 870972"/>
                <a:gd name="connsiteX1" fmla="*/ 145165 w 1874468"/>
                <a:gd name="connsiteY1" fmla="*/ 0 h 870972"/>
                <a:gd name="connsiteX2" fmla="*/ 704894 w 1874468"/>
                <a:gd name="connsiteY2" fmla="*/ 0 h 870972"/>
                <a:gd name="connsiteX3" fmla="*/ 1217098 w 1874468"/>
                <a:gd name="connsiteY3" fmla="*/ 0 h 870972"/>
                <a:gd name="connsiteX4" fmla="*/ 1729303 w 1874468"/>
                <a:gd name="connsiteY4" fmla="*/ 0 h 870972"/>
                <a:gd name="connsiteX5" fmla="*/ 1874468 w 1874468"/>
                <a:gd name="connsiteY5" fmla="*/ 145165 h 870972"/>
                <a:gd name="connsiteX6" fmla="*/ 1874468 w 1874468"/>
                <a:gd name="connsiteY6" fmla="*/ 725807 h 870972"/>
                <a:gd name="connsiteX7" fmla="*/ 1729303 w 1874468"/>
                <a:gd name="connsiteY7" fmla="*/ 870972 h 870972"/>
                <a:gd name="connsiteX8" fmla="*/ 1232940 w 1874468"/>
                <a:gd name="connsiteY8" fmla="*/ 870972 h 870972"/>
                <a:gd name="connsiteX9" fmla="*/ 704894 w 1874468"/>
                <a:gd name="connsiteY9" fmla="*/ 870972 h 870972"/>
                <a:gd name="connsiteX10" fmla="*/ 145165 w 1874468"/>
                <a:gd name="connsiteY10" fmla="*/ 870972 h 870972"/>
                <a:gd name="connsiteX11" fmla="*/ 0 w 1874468"/>
                <a:gd name="connsiteY11" fmla="*/ 725807 h 870972"/>
                <a:gd name="connsiteX12" fmla="*/ 0 w 1874468"/>
                <a:gd name="connsiteY12" fmla="*/ 145165 h 87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468" h="870972" extrusionOk="0">
                  <a:moveTo>
                    <a:pt x="0" y="145165"/>
                  </a:moveTo>
                  <a:cubicBezTo>
                    <a:pt x="-2432" y="63493"/>
                    <a:pt x="60286" y="1767"/>
                    <a:pt x="145165" y="0"/>
                  </a:cubicBezTo>
                  <a:cubicBezTo>
                    <a:pt x="418766" y="25270"/>
                    <a:pt x="471750" y="-10451"/>
                    <a:pt x="704894" y="0"/>
                  </a:cubicBezTo>
                  <a:cubicBezTo>
                    <a:pt x="938038" y="10451"/>
                    <a:pt x="1062432" y="-1934"/>
                    <a:pt x="1217098" y="0"/>
                  </a:cubicBezTo>
                  <a:cubicBezTo>
                    <a:pt x="1371764" y="1934"/>
                    <a:pt x="1560301" y="-9488"/>
                    <a:pt x="1729303" y="0"/>
                  </a:cubicBezTo>
                  <a:cubicBezTo>
                    <a:pt x="1806497" y="-9592"/>
                    <a:pt x="1877814" y="52611"/>
                    <a:pt x="1874468" y="145165"/>
                  </a:cubicBezTo>
                  <a:cubicBezTo>
                    <a:pt x="1878293" y="327905"/>
                    <a:pt x="1864739" y="564412"/>
                    <a:pt x="1874468" y="725807"/>
                  </a:cubicBezTo>
                  <a:cubicBezTo>
                    <a:pt x="1874172" y="803157"/>
                    <a:pt x="1806648" y="874901"/>
                    <a:pt x="1729303" y="870972"/>
                  </a:cubicBezTo>
                  <a:cubicBezTo>
                    <a:pt x="1614608" y="860640"/>
                    <a:pt x="1409140" y="886461"/>
                    <a:pt x="1232940" y="870972"/>
                  </a:cubicBezTo>
                  <a:cubicBezTo>
                    <a:pt x="1056740" y="855483"/>
                    <a:pt x="854686" y="896516"/>
                    <a:pt x="704894" y="870972"/>
                  </a:cubicBezTo>
                  <a:cubicBezTo>
                    <a:pt x="555102" y="845428"/>
                    <a:pt x="282589" y="848216"/>
                    <a:pt x="145165" y="870972"/>
                  </a:cubicBezTo>
                  <a:cubicBezTo>
                    <a:pt x="68869" y="867142"/>
                    <a:pt x="13885" y="797026"/>
                    <a:pt x="0" y="725807"/>
                  </a:cubicBezTo>
                  <a:cubicBezTo>
                    <a:pt x="-19593" y="471953"/>
                    <a:pt x="-15948" y="364265"/>
                    <a:pt x="0" y="145165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solidFill>
                    <a:srgbClr val="16161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st API</a:t>
              </a:r>
              <a:endParaRPr lang="en-US" i="0" dirty="0">
                <a:solidFill>
                  <a:srgbClr val="161616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4117062-387B-DA91-333C-CAF555FA64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998" y="2263995"/>
              <a:ext cx="1027073" cy="998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1D81764A-EAD3-C3BD-D287-15AAFC28A9FE}"/>
              </a:ext>
            </a:extLst>
          </p:cNvPr>
          <p:cNvSpPr/>
          <p:nvPr/>
        </p:nvSpPr>
        <p:spPr>
          <a:xfrm rot="5400000" flipV="1">
            <a:off x="7767644" y="4254805"/>
            <a:ext cx="283532" cy="293901"/>
          </a:xfrm>
          <a:custGeom>
            <a:avLst/>
            <a:gdLst>
              <a:gd name="connsiteX0" fmla="*/ 0 w 283532"/>
              <a:gd name="connsiteY0" fmla="*/ 73475 h 293901"/>
              <a:gd name="connsiteX1" fmla="*/ 141766 w 283532"/>
              <a:gd name="connsiteY1" fmla="*/ 73475 h 293901"/>
              <a:gd name="connsiteX2" fmla="*/ 141766 w 283532"/>
              <a:gd name="connsiteY2" fmla="*/ 0 h 293901"/>
              <a:gd name="connsiteX3" fmla="*/ 283532 w 283532"/>
              <a:gd name="connsiteY3" fmla="*/ 146951 h 293901"/>
              <a:gd name="connsiteX4" fmla="*/ 141766 w 283532"/>
              <a:gd name="connsiteY4" fmla="*/ 293901 h 293901"/>
              <a:gd name="connsiteX5" fmla="*/ 141766 w 283532"/>
              <a:gd name="connsiteY5" fmla="*/ 220426 h 293901"/>
              <a:gd name="connsiteX6" fmla="*/ 0 w 283532"/>
              <a:gd name="connsiteY6" fmla="*/ 220426 h 293901"/>
              <a:gd name="connsiteX7" fmla="*/ 0 w 283532"/>
              <a:gd name="connsiteY7" fmla="*/ 73475 h 29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532" h="293901" fill="none" extrusionOk="0">
                <a:moveTo>
                  <a:pt x="0" y="73475"/>
                </a:moveTo>
                <a:cubicBezTo>
                  <a:pt x="41812" y="71548"/>
                  <a:pt x="81662" y="67557"/>
                  <a:pt x="141766" y="73475"/>
                </a:cubicBezTo>
                <a:cubicBezTo>
                  <a:pt x="142619" y="51582"/>
                  <a:pt x="142584" y="23679"/>
                  <a:pt x="141766" y="0"/>
                </a:cubicBezTo>
                <a:cubicBezTo>
                  <a:pt x="189449" y="58484"/>
                  <a:pt x="251994" y="110987"/>
                  <a:pt x="283532" y="146951"/>
                </a:cubicBezTo>
                <a:cubicBezTo>
                  <a:pt x="256082" y="182474"/>
                  <a:pt x="179976" y="247503"/>
                  <a:pt x="141766" y="293901"/>
                </a:cubicBezTo>
                <a:cubicBezTo>
                  <a:pt x="140681" y="266718"/>
                  <a:pt x="140070" y="245963"/>
                  <a:pt x="141766" y="220426"/>
                </a:cubicBezTo>
                <a:cubicBezTo>
                  <a:pt x="111476" y="220322"/>
                  <a:pt x="55292" y="222905"/>
                  <a:pt x="0" y="220426"/>
                </a:cubicBezTo>
                <a:cubicBezTo>
                  <a:pt x="5972" y="187598"/>
                  <a:pt x="1236" y="118312"/>
                  <a:pt x="0" y="73475"/>
                </a:cubicBezTo>
                <a:close/>
              </a:path>
              <a:path w="283532" h="293901" stroke="0" extrusionOk="0">
                <a:moveTo>
                  <a:pt x="0" y="73475"/>
                </a:moveTo>
                <a:cubicBezTo>
                  <a:pt x="50919" y="75191"/>
                  <a:pt x="77424" y="80431"/>
                  <a:pt x="141766" y="73475"/>
                </a:cubicBezTo>
                <a:cubicBezTo>
                  <a:pt x="141984" y="43698"/>
                  <a:pt x="141470" y="20859"/>
                  <a:pt x="141766" y="0"/>
                </a:cubicBezTo>
                <a:cubicBezTo>
                  <a:pt x="180435" y="33596"/>
                  <a:pt x="236569" y="93606"/>
                  <a:pt x="283532" y="146951"/>
                </a:cubicBezTo>
                <a:cubicBezTo>
                  <a:pt x="246139" y="172450"/>
                  <a:pt x="183309" y="238543"/>
                  <a:pt x="141766" y="293901"/>
                </a:cubicBezTo>
                <a:cubicBezTo>
                  <a:pt x="144754" y="262978"/>
                  <a:pt x="142061" y="241441"/>
                  <a:pt x="141766" y="220426"/>
                </a:cubicBezTo>
                <a:cubicBezTo>
                  <a:pt x="106873" y="213743"/>
                  <a:pt x="63896" y="227005"/>
                  <a:pt x="0" y="220426"/>
                </a:cubicBezTo>
                <a:cubicBezTo>
                  <a:pt x="-6576" y="169039"/>
                  <a:pt x="2709" y="114727"/>
                  <a:pt x="0" y="73475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3C8D4438-8E0F-FCD6-78F8-9DDD2640FEAF}"/>
              </a:ext>
            </a:extLst>
          </p:cNvPr>
          <p:cNvSpPr/>
          <p:nvPr/>
        </p:nvSpPr>
        <p:spPr>
          <a:xfrm rot="2001823" flipV="1">
            <a:off x="6723098" y="3017327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7F1A580-12D0-4472-FF1A-F3098997C084}"/>
              </a:ext>
            </a:extLst>
          </p:cNvPr>
          <p:cNvSpPr/>
          <p:nvPr/>
        </p:nvSpPr>
        <p:spPr>
          <a:xfrm flipV="1">
            <a:off x="6699996" y="3640143"/>
            <a:ext cx="742559" cy="311370"/>
          </a:xfrm>
          <a:custGeom>
            <a:avLst/>
            <a:gdLst>
              <a:gd name="connsiteX0" fmla="*/ 0 w 742559"/>
              <a:gd name="connsiteY0" fmla="*/ 77843 h 311370"/>
              <a:gd name="connsiteX1" fmla="*/ 586874 w 742559"/>
              <a:gd name="connsiteY1" fmla="*/ 77843 h 311370"/>
              <a:gd name="connsiteX2" fmla="*/ 586874 w 742559"/>
              <a:gd name="connsiteY2" fmla="*/ 0 h 311370"/>
              <a:gd name="connsiteX3" fmla="*/ 742559 w 742559"/>
              <a:gd name="connsiteY3" fmla="*/ 155685 h 311370"/>
              <a:gd name="connsiteX4" fmla="*/ 586874 w 742559"/>
              <a:gd name="connsiteY4" fmla="*/ 311370 h 311370"/>
              <a:gd name="connsiteX5" fmla="*/ 586874 w 742559"/>
              <a:gd name="connsiteY5" fmla="*/ 233528 h 311370"/>
              <a:gd name="connsiteX6" fmla="*/ 0 w 742559"/>
              <a:gd name="connsiteY6" fmla="*/ 233528 h 311370"/>
              <a:gd name="connsiteX7" fmla="*/ 0 w 742559"/>
              <a:gd name="connsiteY7" fmla="*/ 77843 h 311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2559" h="311370" fill="none" extrusionOk="0">
                <a:moveTo>
                  <a:pt x="0" y="77843"/>
                </a:moveTo>
                <a:cubicBezTo>
                  <a:pt x="241731" y="95664"/>
                  <a:pt x="300453" y="78426"/>
                  <a:pt x="586874" y="77843"/>
                </a:cubicBezTo>
                <a:cubicBezTo>
                  <a:pt x="585335" y="54991"/>
                  <a:pt x="585404" y="26936"/>
                  <a:pt x="586874" y="0"/>
                </a:cubicBezTo>
                <a:cubicBezTo>
                  <a:pt x="653028" y="58532"/>
                  <a:pt x="688201" y="112350"/>
                  <a:pt x="742559" y="155685"/>
                </a:cubicBezTo>
                <a:cubicBezTo>
                  <a:pt x="677371" y="215915"/>
                  <a:pt x="665336" y="236822"/>
                  <a:pt x="586874" y="311370"/>
                </a:cubicBezTo>
                <a:cubicBezTo>
                  <a:pt x="583441" y="281475"/>
                  <a:pt x="587854" y="252131"/>
                  <a:pt x="586874" y="233528"/>
                </a:cubicBezTo>
                <a:cubicBezTo>
                  <a:pt x="321074" y="232474"/>
                  <a:pt x="153977" y="253480"/>
                  <a:pt x="0" y="233528"/>
                </a:cubicBezTo>
                <a:cubicBezTo>
                  <a:pt x="5076" y="169957"/>
                  <a:pt x="-173" y="137600"/>
                  <a:pt x="0" y="77843"/>
                </a:cubicBezTo>
                <a:close/>
              </a:path>
              <a:path w="742559" h="311370" stroke="0" extrusionOk="0">
                <a:moveTo>
                  <a:pt x="0" y="77843"/>
                </a:moveTo>
                <a:cubicBezTo>
                  <a:pt x="282185" y="53894"/>
                  <a:pt x="442578" y="49175"/>
                  <a:pt x="586874" y="77843"/>
                </a:cubicBezTo>
                <a:cubicBezTo>
                  <a:pt x="589802" y="60912"/>
                  <a:pt x="585846" y="16837"/>
                  <a:pt x="586874" y="0"/>
                </a:cubicBezTo>
                <a:cubicBezTo>
                  <a:pt x="644335" y="53904"/>
                  <a:pt x="706683" y="114156"/>
                  <a:pt x="742559" y="155685"/>
                </a:cubicBezTo>
                <a:cubicBezTo>
                  <a:pt x="671751" y="227083"/>
                  <a:pt x="643991" y="243908"/>
                  <a:pt x="586874" y="311370"/>
                </a:cubicBezTo>
                <a:cubicBezTo>
                  <a:pt x="586638" y="289274"/>
                  <a:pt x="583431" y="259805"/>
                  <a:pt x="586874" y="233528"/>
                </a:cubicBezTo>
                <a:cubicBezTo>
                  <a:pt x="345025" y="254085"/>
                  <a:pt x="246747" y="239828"/>
                  <a:pt x="0" y="233528"/>
                </a:cubicBezTo>
                <a:cubicBezTo>
                  <a:pt x="-7256" y="185133"/>
                  <a:pt x="5465" y="131611"/>
                  <a:pt x="0" y="77843"/>
                </a:cubicBezTo>
                <a:close/>
              </a:path>
            </a:pathLst>
          </a:custGeom>
          <a:solidFill>
            <a:srgbClr val="E41212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9A04545B-9CB7-33F0-FBF0-DB471E339494}"/>
              </a:ext>
            </a:extLst>
          </p:cNvPr>
          <p:cNvSpPr/>
          <p:nvPr/>
        </p:nvSpPr>
        <p:spPr>
          <a:xfrm rot="19136335" flipV="1">
            <a:off x="6680888" y="4327350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685A6F23-2187-BFF8-8A15-BE13EC6596C8}"/>
              </a:ext>
            </a:extLst>
          </p:cNvPr>
          <p:cNvSpPr/>
          <p:nvPr/>
        </p:nvSpPr>
        <p:spPr>
          <a:xfrm rot="13655532" flipV="1">
            <a:off x="8182314" y="4339388"/>
            <a:ext cx="807038" cy="299098"/>
          </a:xfrm>
          <a:custGeom>
            <a:avLst/>
            <a:gdLst>
              <a:gd name="connsiteX0" fmla="*/ 0 w 807038"/>
              <a:gd name="connsiteY0" fmla="*/ 74775 h 299098"/>
              <a:gd name="connsiteX1" fmla="*/ 657489 w 807038"/>
              <a:gd name="connsiteY1" fmla="*/ 74775 h 299098"/>
              <a:gd name="connsiteX2" fmla="*/ 657489 w 807038"/>
              <a:gd name="connsiteY2" fmla="*/ 0 h 299098"/>
              <a:gd name="connsiteX3" fmla="*/ 807038 w 807038"/>
              <a:gd name="connsiteY3" fmla="*/ 149549 h 299098"/>
              <a:gd name="connsiteX4" fmla="*/ 657489 w 807038"/>
              <a:gd name="connsiteY4" fmla="*/ 299098 h 299098"/>
              <a:gd name="connsiteX5" fmla="*/ 657489 w 807038"/>
              <a:gd name="connsiteY5" fmla="*/ 224324 h 299098"/>
              <a:gd name="connsiteX6" fmla="*/ 0 w 807038"/>
              <a:gd name="connsiteY6" fmla="*/ 224324 h 299098"/>
              <a:gd name="connsiteX7" fmla="*/ 0 w 807038"/>
              <a:gd name="connsiteY7" fmla="*/ 74775 h 29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038" h="299098" fill="none" extrusionOk="0">
                <a:moveTo>
                  <a:pt x="0" y="74775"/>
                </a:moveTo>
                <a:cubicBezTo>
                  <a:pt x="274704" y="57535"/>
                  <a:pt x="397239" y="86005"/>
                  <a:pt x="657489" y="74775"/>
                </a:cubicBezTo>
                <a:cubicBezTo>
                  <a:pt x="659527" y="48964"/>
                  <a:pt x="657844" y="23895"/>
                  <a:pt x="657489" y="0"/>
                </a:cubicBezTo>
                <a:cubicBezTo>
                  <a:pt x="684418" y="33193"/>
                  <a:pt x="776035" y="120040"/>
                  <a:pt x="807038" y="149549"/>
                </a:cubicBezTo>
                <a:cubicBezTo>
                  <a:pt x="745703" y="222948"/>
                  <a:pt x="715908" y="252073"/>
                  <a:pt x="657489" y="299098"/>
                </a:cubicBezTo>
                <a:cubicBezTo>
                  <a:pt x="658515" y="267484"/>
                  <a:pt x="653965" y="241932"/>
                  <a:pt x="657489" y="224324"/>
                </a:cubicBezTo>
                <a:cubicBezTo>
                  <a:pt x="404509" y="200759"/>
                  <a:pt x="147920" y="231491"/>
                  <a:pt x="0" y="224324"/>
                </a:cubicBezTo>
                <a:cubicBezTo>
                  <a:pt x="-1400" y="162665"/>
                  <a:pt x="365" y="118463"/>
                  <a:pt x="0" y="74775"/>
                </a:cubicBezTo>
                <a:close/>
              </a:path>
              <a:path w="807038" h="299098" stroke="0" extrusionOk="0">
                <a:moveTo>
                  <a:pt x="0" y="74775"/>
                </a:moveTo>
                <a:cubicBezTo>
                  <a:pt x="288440" y="86829"/>
                  <a:pt x="454626" y="74275"/>
                  <a:pt x="657489" y="74775"/>
                </a:cubicBezTo>
                <a:cubicBezTo>
                  <a:pt x="655722" y="52924"/>
                  <a:pt x="657603" y="27797"/>
                  <a:pt x="657489" y="0"/>
                </a:cubicBezTo>
                <a:cubicBezTo>
                  <a:pt x="689030" y="41914"/>
                  <a:pt x="756686" y="93253"/>
                  <a:pt x="807038" y="149549"/>
                </a:cubicBezTo>
                <a:cubicBezTo>
                  <a:pt x="780139" y="188905"/>
                  <a:pt x="692246" y="265376"/>
                  <a:pt x="657489" y="299098"/>
                </a:cubicBezTo>
                <a:cubicBezTo>
                  <a:pt x="656830" y="276970"/>
                  <a:pt x="661030" y="240909"/>
                  <a:pt x="657489" y="224324"/>
                </a:cubicBezTo>
                <a:cubicBezTo>
                  <a:pt x="383454" y="215645"/>
                  <a:pt x="322431" y="227256"/>
                  <a:pt x="0" y="224324"/>
                </a:cubicBezTo>
                <a:cubicBezTo>
                  <a:pt x="-1046" y="176175"/>
                  <a:pt x="7245" y="118743"/>
                  <a:pt x="0" y="74775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9099542B-3D99-ECCA-0D45-C72DC8FC5E36}"/>
              </a:ext>
            </a:extLst>
          </p:cNvPr>
          <p:cNvSpPr/>
          <p:nvPr/>
        </p:nvSpPr>
        <p:spPr>
          <a:xfrm rot="8917919" flipV="1">
            <a:off x="8360521" y="2876983"/>
            <a:ext cx="560549" cy="312948"/>
          </a:xfrm>
          <a:custGeom>
            <a:avLst/>
            <a:gdLst>
              <a:gd name="connsiteX0" fmla="*/ 0 w 560549"/>
              <a:gd name="connsiteY0" fmla="*/ 78237 h 312948"/>
              <a:gd name="connsiteX1" fmla="*/ 404075 w 560549"/>
              <a:gd name="connsiteY1" fmla="*/ 78237 h 312948"/>
              <a:gd name="connsiteX2" fmla="*/ 404075 w 560549"/>
              <a:gd name="connsiteY2" fmla="*/ 0 h 312948"/>
              <a:gd name="connsiteX3" fmla="*/ 560549 w 560549"/>
              <a:gd name="connsiteY3" fmla="*/ 156474 h 312948"/>
              <a:gd name="connsiteX4" fmla="*/ 404075 w 560549"/>
              <a:gd name="connsiteY4" fmla="*/ 312948 h 312948"/>
              <a:gd name="connsiteX5" fmla="*/ 404075 w 560549"/>
              <a:gd name="connsiteY5" fmla="*/ 234711 h 312948"/>
              <a:gd name="connsiteX6" fmla="*/ 0 w 560549"/>
              <a:gd name="connsiteY6" fmla="*/ 234711 h 312948"/>
              <a:gd name="connsiteX7" fmla="*/ 0 w 560549"/>
              <a:gd name="connsiteY7" fmla="*/ 78237 h 31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549" h="312948" fill="none" extrusionOk="0">
                <a:moveTo>
                  <a:pt x="0" y="78237"/>
                </a:moveTo>
                <a:cubicBezTo>
                  <a:pt x="87627" y="94770"/>
                  <a:pt x="216511" y="93760"/>
                  <a:pt x="404075" y="78237"/>
                </a:cubicBezTo>
                <a:cubicBezTo>
                  <a:pt x="402433" y="56871"/>
                  <a:pt x="400537" y="29966"/>
                  <a:pt x="404075" y="0"/>
                </a:cubicBezTo>
                <a:cubicBezTo>
                  <a:pt x="463033" y="58118"/>
                  <a:pt x="511860" y="104543"/>
                  <a:pt x="560549" y="156474"/>
                </a:cubicBezTo>
                <a:cubicBezTo>
                  <a:pt x="516080" y="212185"/>
                  <a:pt x="446772" y="263894"/>
                  <a:pt x="404075" y="312948"/>
                </a:cubicBezTo>
                <a:cubicBezTo>
                  <a:pt x="407773" y="279223"/>
                  <a:pt x="404459" y="255917"/>
                  <a:pt x="404075" y="234711"/>
                </a:cubicBezTo>
                <a:cubicBezTo>
                  <a:pt x="243762" y="241424"/>
                  <a:pt x="165785" y="240921"/>
                  <a:pt x="0" y="234711"/>
                </a:cubicBezTo>
                <a:cubicBezTo>
                  <a:pt x="-5326" y="187794"/>
                  <a:pt x="-2901" y="148671"/>
                  <a:pt x="0" y="78237"/>
                </a:cubicBezTo>
                <a:close/>
              </a:path>
              <a:path w="560549" h="312948" stroke="0" extrusionOk="0">
                <a:moveTo>
                  <a:pt x="0" y="78237"/>
                </a:moveTo>
                <a:cubicBezTo>
                  <a:pt x="197198" y="93535"/>
                  <a:pt x="214325" y="76948"/>
                  <a:pt x="404075" y="78237"/>
                </a:cubicBezTo>
                <a:cubicBezTo>
                  <a:pt x="406613" y="42379"/>
                  <a:pt x="400834" y="26459"/>
                  <a:pt x="404075" y="0"/>
                </a:cubicBezTo>
                <a:cubicBezTo>
                  <a:pt x="474785" y="73399"/>
                  <a:pt x="481666" y="80945"/>
                  <a:pt x="560549" y="156474"/>
                </a:cubicBezTo>
                <a:cubicBezTo>
                  <a:pt x="506308" y="215934"/>
                  <a:pt x="456681" y="264595"/>
                  <a:pt x="404075" y="312948"/>
                </a:cubicBezTo>
                <a:cubicBezTo>
                  <a:pt x="407642" y="280414"/>
                  <a:pt x="405696" y="250631"/>
                  <a:pt x="404075" y="234711"/>
                </a:cubicBezTo>
                <a:cubicBezTo>
                  <a:pt x="259426" y="215940"/>
                  <a:pt x="112613" y="230546"/>
                  <a:pt x="0" y="234711"/>
                </a:cubicBezTo>
                <a:cubicBezTo>
                  <a:pt x="-6935" y="167277"/>
                  <a:pt x="5087" y="145029"/>
                  <a:pt x="0" y="7823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9408F589-6BF4-4E88-CF86-007C2CC4C51E}"/>
              </a:ext>
            </a:extLst>
          </p:cNvPr>
          <p:cNvSpPr/>
          <p:nvPr/>
        </p:nvSpPr>
        <p:spPr>
          <a:xfrm rot="10800000" flipV="1">
            <a:off x="8370351" y="3474844"/>
            <a:ext cx="493035" cy="381508"/>
          </a:xfrm>
          <a:custGeom>
            <a:avLst/>
            <a:gdLst>
              <a:gd name="connsiteX0" fmla="*/ 0 w 493035"/>
              <a:gd name="connsiteY0" fmla="*/ 95377 h 381508"/>
              <a:gd name="connsiteX1" fmla="*/ 302281 w 493035"/>
              <a:gd name="connsiteY1" fmla="*/ 95377 h 381508"/>
              <a:gd name="connsiteX2" fmla="*/ 302281 w 493035"/>
              <a:gd name="connsiteY2" fmla="*/ 0 h 381508"/>
              <a:gd name="connsiteX3" fmla="*/ 493035 w 493035"/>
              <a:gd name="connsiteY3" fmla="*/ 190754 h 381508"/>
              <a:gd name="connsiteX4" fmla="*/ 302281 w 493035"/>
              <a:gd name="connsiteY4" fmla="*/ 381508 h 381508"/>
              <a:gd name="connsiteX5" fmla="*/ 302281 w 493035"/>
              <a:gd name="connsiteY5" fmla="*/ 286131 h 381508"/>
              <a:gd name="connsiteX6" fmla="*/ 0 w 493035"/>
              <a:gd name="connsiteY6" fmla="*/ 286131 h 381508"/>
              <a:gd name="connsiteX7" fmla="*/ 0 w 493035"/>
              <a:gd name="connsiteY7" fmla="*/ 95377 h 381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035" h="381508" fill="none" extrusionOk="0">
                <a:moveTo>
                  <a:pt x="0" y="95377"/>
                </a:moveTo>
                <a:cubicBezTo>
                  <a:pt x="128562" y="97836"/>
                  <a:pt x="187764" y="106999"/>
                  <a:pt x="302281" y="95377"/>
                </a:cubicBezTo>
                <a:cubicBezTo>
                  <a:pt x="306080" y="57155"/>
                  <a:pt x="304101" y="42206"/>
                  <a:pt x="302281" y="0"/>
                </a:cubicBezTo>
                <a:cubicBezTo>
                  <a:pt x="373383" y="53600"/>
                  <a:pt x="448795" y="152320"/>
                  <a:pt x="493035" y="190754"/>
                </a:cubicBezTo>
                <a:cubicBezTo>
                  <a:pt x="416013" y="256249"/>
                  <a:pt x="387986" y="282617"/>
                  <a:pt x="302281" y="381508"/>
                </a:cubicBezTo>
                <a:cubicBezTo>
                  <a:pt x="306189" y="336975"/>
                  <a:pt x="299327" y="310016"/>
                  <a:pt x="302281" y="286131"/>
                </a:cubicBezTo>
                <a:cubicBezTo>
                  <a:pt x="174005" y="272712"/>
                  <a:pt x="117761" y="271941"/>
                  <a:pt x="0" y="286131"/>
                </a:cubicBezTo>
                <a:cubicBezTo>
                  <a:pt x="-980" y="219966"/>
                  <a:pt x="-6360" y="175301"/>
                  <a:pt x="0" y="95377"/>
                </a:cubicBezTo>
                <a:close/>
              </a:path>
              <a:path w="493035" h="381508" stroke="0" extrusionOk="0">
                <a:moveTo>
                  <a:pt x="0" y="95377"/>
                </a:moveTo>
                <a:cubicBezTo>
                  <a:pt x="70059" y="100114"/>
                  <a:pt x="217974" y="109876"/>
                  <a:pt x="302281" y="95377"/>
                </a:cubicBezTo>
                <a:cubicBezTo>
                  <a:pt x="301673" y="71827"/>
                  <a:pt x="297901" y="28531"/>
                  <a:pt x="302281" y="0"/>
                </a:cubicBezTo>
                <a:cubicBezTo>
                  <a:pt x="346269" y="39859"/>
                  <a:pt x="406782" y="96029"/>
                  <a:pt x="493035" y="190754"/>
                </a:cubicBezTo>
                <a:cubicBezTo>
                  <a:pt x="417556" y="259791"/>
                  <a:pt x="372616" y="304959"/>
                  <a:pt x="302281" y="381508"/>
                </a:cubicBezTo>
                <a:cubicBezTo>
                  <a:pt x="307008" y="347186"/>
                  <a:pt x="297546" y="316069"/>
                  <a:pt x="302281" y="286131"/>
                </a:cubicBezTo>
                <a:cubicBezTo>
                  <a:pt x="223481" y="282612"/>
                  <a:pt x="74081" y="300264"/>
                  <a:pt x="0" y="286131"/>
                </a:cubicBezTo>
                <a:cubicBezTo>
                  <a:pt x="2557" y="239460"/>
                  <a:pt x="-3678" y="179687"/>
                  <a:pt x="0" y="95377"/>
                </a:cubicBezTo>
                <a:close/>
              </a:path>
            </a:pathLst>
          </a:custGeom>
          <a:solidFill>
            <a:srgbClr val="00B05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2CBA4C-4923-3252-3BDC-AD55C65243ED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5" name="Rectángulo redondeado 14">
              <a:extLst>
                <a:ext uri="{FF2B5EF4-FFF2-40B4-BE49-F238E27FC236}">
                  <a16:creationId xmlns:a16="http://schemas.microsoft.com/office/drawing/2014/main" id="{81A7E4E8-AA46-14E7-91E2-20DB7D6D48AA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ángulo 12">
              <a:extLst>
                <a:ext uri="{FF2B5EF4-FFF2-40B4-BE49-F238E27FC236}">
                  <a16:creationId xmlns:a16="http://schemas.microsoft.com/office/drawing/2014/main" id="{8807D585-EB0A-AD63-239F-5730054974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deployment op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83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ut what about more complex deployments, like Applications that consists of multiple standardized resources?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UI Tabs as composition elements</a:t>
            </a:r>
          </a:p>
          <a:p>
            <a:pPr>
              <a:buFontTx/>
              <a:buChar char="-"/>
            </a:pPr>
            <a:r>
              <a:rPr lang="en-US" sz="20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 Resource Template Spec's bicep files as modules in the Application bicep fi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D019DA-DE66-02B0-3E87-8A0637A9E889}"/>
              </a:ext>
            </a:extLst>
          </p:cNvPr>
          <p:cNvGrpSpPr/>
          <p:nvPr/>
        </p:nvGrpSpPr>
        <p:grpSpPr>
          <a:xfrm>
            <a:off x="9165984" y="3218836"/>
            <a:ext cx="2638047" cy="2873312"/>
            <a:chOff x="8065864" y="3428999"/>
            <a:chExt cx="2638047" cy="287331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C17690F-C13F-928C-B174-184391D45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65864" y="3428999"/>
              <a:ext cx="2638047" cy="2873312"/>
            </a:xfrm>
            <a:prstGeom prst="rect">
              <a:avLst/>
            </a:prstGeom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A6C0EBF-797C-EC6D-5357-449FB8D33528}"/>
                </a:ext>
              </a:extLst>
            </p:cNvPr>
            <p:cNvSpPr/>
            <p:nvPr/>
          </p:nvSpPr>
          <p:spPr>
            <a:xfrm>
              <a:off x="8065864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357BB0D-3AE2-E8D9-3B58-F694EFD98A33}"/>
                </a:ext>
              </a:extLst>
            </p:cNvPr>
            <p:cNvSpPr/>
            <p:nvPr/>
          </p:nvSpPr>
          <p:spPr>
            <a:xfrm>
              <a:off x="8487927" y="4333241"/>
              <a:ext cx="377096" cy="223520"/>
            </a:xfrm>
            <a:custGeom>
              <a:avLst/>
              <a:gdLst>
                <a:gd name="connsiteX0" fmla="*/ 0 w 377096"/>
                <a:gd name="connsiteY0" fmla="*/ 37254 h 223520"/>
                <a:gd name="connsiteX1" fmla="*/ 37254 w 377096"/>
                <a:gd name="connsiteY1" fmla="*/ 0 h 223520"/>
                <a:gd name="connsiteX2" fmla="*/ 339842 w 377096"/>
                <a:gd name="connsiteY2" fmla="*/ 0 h 223520"/>
                <a:gd name="connsiteX3" fmla="*/ 377096 w 377096"/>
                <a:gd name="connsiteY3" fmla="*/ 37254 h 223520"/>
                <a:gd name="connsiteX4" fmla="*/ 377096 w 377096"/>
                <a:gd name="connsiteY4" fmla="*/ 186266 h 223520"/>
                <a:gd name="connsiteX5" fmla="*/ 339842 w 377096"/>
                <a:gd name="connsiteY5" fmla="*/ 223520 h 223520"/>
                <a:gd name="connsiteX6" fmla="*/ 37254 w 377096"/>
                <a:gd name="connsiteY6" fmla="*/ 223520 h 223520"/>
                <a:gd name="connsiteX7" fmla="*/ 0 w 377096"/>
                <a:gd name="connsiteY7" fmla="*/ 186266 h 223520"/>
                <a:gd name="connsiteX8" fmla="*/ 0 w 377096"/>
                <a:gd name="connsiteY8" fmla="*/ 37254 h 22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96" h="223520" extrusionOk="0">
                  <a:moveTo>
                    <a:pt x="0" y="37254"/>
                  </a:moveTo>
                  <a:cubicBezTo>
                    <a:pt x="-3796" y="14338"/>
                    <a:pt x="14371" y="866"/>
                    <a:pt x="37254" y="0"/>
                  </a:cubicBezTo>
                  <a:cubicBezTo>
                    <a:pt x="106733" y="12032"/>
                    <a:pt x="196691" y="14560"/>
                    <a:pt x="339842" y="0"/>
                  </a:cubicBezTo>
                  <a:cubicBezTo>
                    <a:pt x="357804" y="-1988"/>
                    <a:pt x="375143" y="20688"/>
                    <a:pt x="377096" y="37254"/>
                  </a:cubicBezTo>
                  <a:cubicBezTo>
                    <a:pt x="379978" y="91669"/>
                    <a:pt x="373190" y="150656"/>
                    <a:pt x="377096" y="186266"/>
                  </a:cubicBezTo>
                  <a:cubicBezTo>
                    <a:pt x="377667" y="205666"/>
                    <a:pt x="358753" y="223265"/>
                    <a:pt x="339842" y="223520"/>
                  </a:cubicBezTo>
                  <a:cubicBezTo>
                    <a:pt x="262464" y="235135"/>
                    <a:pt x="129051" y="237803"/>
                    <a:pt x="37254" y="223520"/>
                  </a:cubicBezTo>
                  <a:cubicBezTo>
                    <a:pt x="16310" y="224130"/>
                    <a:pt x="-2928" y="203444"/>
                    <a:pt x="0" y="186266"/>
                  </a:cubicBezTo>
                  <a:cubicBezTo>
                    <a:pt x="4422" y="148477"/>
                    <a:pt x="289" y="97045"/>
                    <a:pt x="0" y="37254"/>
                  </a:cubicBezTo>
                  <a:close/>
                </a:path>
              </a:pathLst>
            </a:custGeom>
            <a:noFill/>
            <a:ln w="25400">
              <a:solidFill>
                <a:srgbClr val="FF000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893DE28-BE3B-5EFC-C998-14A2561C5345}"/>
              </a:ext>
            </a:extLst>
          </p:cNvPr>
          <p:cNvGrpSpPr/>
          <p:nvPr/>
        </p:nvGrpSpPr>
        <p:grpSpPr>
          <a:xfrm>
            <a:off x="369313" y="3231390"/>
            <a:ext cx="2186689" cy="2873311"/>
            <a:chOff x="517991" y="3243943"/>
            <a:chExt cx="2249195" cy="2873311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8E29DE59-FAAE-1E26-3561-A67776339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243" y="3243943"/>
              <a:ext cx="783141" cy="783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450B6F6-E2D1-8332-8759-B0D42BE716BF}"/>
                </a:ext>
              </a:extLst>
            </p:cNvPr>
            <p:cNvSpPr/>
            <p:nvPr/>
          </p:nvSpPr>
          <p:spPr>
            <a:xfrm>
              <a:off x="564244" y="3243943"/>
              <a:ext cx="2122404" cy="2873311"/>
            </a:xfrm>
            <a:custGeom>
              <a:avLst/>
              <a:gdLst>
                <a:gd name="connsiteX0" fmla="*/ 0 w 2063422"/>
                <a:gd name="connsiteY0" fmla="*/ 343911 h 2873311"/>
                <a:gd name="connsiteX1" fmla="*/ 343911 w 2063422"/>
                <a:gd name="connsiteY1" fmla="*/ 0 h 2873311"/>
                <a:gd name="connsiteX2" fmla="*/ 1059223 w 2063422"/>
                <a:gd name="connsiteY2" fmla="*/ 0 h 2873311"/>
                <a:gd name="connsiteX3" fmla="*/ 1719511 w 2063422"/>
                <a:gd name="connsiteY3" fmla="*/ 0 h 2873311"/>
                <a:gd name="connsiteX4" fmla="*/ 2063422 w 2063422"/>
                <a:gd name="connsiteY4" fmla="*/ 343911 h 2873311"/>
                <a:gd name="connsiteX5" fmla="*/ 2063422 w 2063422"/>
                <a:gd name="connsiteY5" fmla="*/ 846573 h 2873311"/>
                <a:gd name="connsiteX6" fmla="*/ 2063422 w 2063422"/>
                <a:gd name="connsiteY6" fmla="*/ 1436656 h 2873311"/>
                <a:gd name="connsiteX7" fmla="*/ 2063422 w 2063422"/>
                <a:gd name="connsiteY7" fmla="*/ 1939318 h 2873311"/>
                <a:gd name="connsiteX8" fmla="*/ 2063422 w 2063422"/>
                <a:gd name="connsiteY8" fmla="*/ 2529400 h 2873311"/>
                <a:gd name="connsiteX9" fmla="*/ 1719511 w 2063422"/>
                <a:gd name="connsiteY9" fmla="*/ 2873311 h 2873311"/>
                <a:gd name="connsiteX10" fmla="*/ 1031711 w 2063422"/>
                <a:gd name="connsiteY10" fmla="*/ 2873311 h 2873311"/>
                <a:gd name="connsiteX11" fmla="*/ 343911 w 2063422"/>
                <a:gd name="connsiteY11" fmla="*/ 2873311 h 2873311"/>
                <a:gd name="connsiteX12" fmla="*/ 0 w 2063422"/>
                <a:gd name="connsiteY12" fmla="*/ 2529400 h 2873311"/>
                <a:gd name="connsiteX13" fmla="*/ 0 w 2063422"/>
                <a:gd name="connsiteY13" fmla="*/ 1983028 h 2873311"/>
                <a:gd name="connsiteX14" fmla="*/ 0 w 2063422"/>
                <a:gd name="connsiteY14" fmla="*/ 1436656 h 2873311"/>
                <a:gd name="connsiteX15" fmla="*/ 0 w 2063422"/>
                <a:gd name="connsiteY15" fmla="*/ 846573 h 2873311"/>
                <a:gd name="connsiteX16" fmla="*/ 0 w 2063422"/>
                <a:gd name="connsiteY16" fmla="*/ 343911 h 28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3422" h="2873311" extrusionOk="0">
                  <a:moveTo>
                    <a:pt x="0" y="343911"/>
                  </a:moveTo>
                  <a:cubicBezTo>
                    <a:pt x="-28971" y="136104"/>
                    <a:pt x="113113" y="15336"/>
                    <a:pt x="343911" y="0"/>
                  </a:cubicBezTo>
                  <a:cubicBezTo>
                    <a:pt x="533034" y="21171"/>
                    <a:pt x="726543" y="-11225"/>
                    <a:pt x="1059223" y="0"/>
                  </a:cubicBezTo>
                  <a:cubicBezTo>
                    <a:pt x="1391903" y="11225"/>
                    <a:pt x="1527927" y="27922"/>
                    <a:pt x="1719511" y="0"/>
                  </a:cubicBezTo>
                  <a:cubicBezTo>
                    <a:pt x="1886793" y="-12395"/>
                    <a:pt x="2104422" y="173564"/>
                    <a:pt x="2063422" y="343911"/>
                  </a:cubicBezTo>
                  <a:cubicBezTo>
                    <a:pt x="2081996" y="450219"/>
                    <a:pt x="2068902" y="677798"/>
                    <a:pt x="2063422" y="846573"/>
                  </a:cubicBezTo>
                  <a:cubicBezTo>
                    <a:pt x="2057942" y="1015348"/>
                    <a:pt x="2048720" y="1227419"/>
                    <a:pt x="2063422" y="1436656"/>
                  </a:cubicBezTo>
                  <a:cubicBezTo>
                    <a:pt x="2078124" y="1645893"/>
                    <a:pt x="2063270" y="1718717"/>
                    <a:pt x="2063422" y="1939318"/>
                  </a:cubicBezTo>
                  <a:cubicBezTo>
                    <a:pt x="2063574" y="2159919"/>
                    <a:pt x="2089521" y="2383532"/>
                    <a:pt x="2063422" y="2529400"/>
                  </a:cubicBezTo>
                  <a:cubicBezTo>
                    <a:pt x="2075259" y="2722183"/>
                    <a:pt x="1863889" y="2865942"/>
                    <a:pt x="1719511" y="2873311"/>
                  </a:cubicBezTo>
                  <a:cubicBezTo>
                    <a:pt x="1394053" y="2848110"/>
                    <a:pt x="1211928" y="2907327"/>
                    <a:pt x="1031711" y="2873311"/>
                  </a:cubicBezTo>
                  <a:cubicBezTo>
                    <a:pt x="851494" y="2839295"/>
                    <a:pt x="615668" y="2874463"/>
                    <a:pt x="343911" y="2873311"/>
                  </a:cubicBezTo>
                  <a:cubicBezTo>
                    <a:pt x="174217" y="2898107"/>
                    <a:pt x="11426" y="2709333"/>
                    <a:pt x="0" y="2529400"/>
                  </a:cubicBezTo>
                  <a:cubicBezTo>
                    <a:pt x="-11262" y="2394871"/>
                    <a:pt x="15860" y="2190457"/>
                    <a:pt x="0" y="1983028"/>
                  </a:cubicBezTo>
                  <a:cubicBezTo>
                    <a:pt x="-15860" y="1775599"/>
                    <a:pt x="-3866" y="1626180"/>
                    <a:pt x="0" y="1436656"/>
                  </a:cubicBezTo>
                  <a:cubicBezTo>
                    <a:pt x="3866" y="1247132"/>
                    <a:pt x="-422" y="1127947"/>
                    <a:pt x="0" y="846573"/>
                  </a:cubicBezTo>
                  <a:cubicBezTo>
                    <a:pt x="422" y="565199"/>
                    <a:pt x="9105" y="525627"/>
                    <a:pt x="0" y="343911"/>
                  </a:cubicBezTo>
                  <a:close/>
                </a:path>
              </a:pathLst>
            </a:custGeom>
            <a:noFill/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31CE5A-3FE5-93CA-657F-3C9CA9333C70}"/>
                </a:ext>
              </a:extLst>
            </p:cNvPr>
            <p:cNvSpPr txBox="1"/>
            <p:nvPr/>
          </p:nvSpPr>
          <p:spPr>
            <a:xfrm>
              <a:off x="532078" y="4117012"/>
              <a:ext cx="15154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Server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16B381-C261-B2F4-6511-9C4570F859CA}"/>
                </a:ext>
              </a:extLst>
            </p:cNvPr>
            <p:cNvSpPr txBox="1"/>
            <p:nvPr/>
          </p:nvSpPr>
          <p:spPr>
            <a:xfrm>
              <a:off x="517992" y="4457317"/>
              <a:ext cx="11611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sqlDb</a:t>
              </a:r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749A3C-DC21-F967-BE07-A79A3B25DA46}"/>
                </a:ext>
              </a:extLst>
            </p:cNvPr>
            <p:cNvSpPr txBox="1"/>
            <p:nvPr/>
          </p:nvSpPr>
          <p:spPr>
            <a:xfrm>
              <a:off x="517991" y="4797198"/>
              <a:ext cx="22491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s</a:t>
              </a:r>
              <a:r>
                <a:rPr lang="en-US" dirty="0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dirty="0" err="1">
                  <a:solidFill>
                    <a:srgbClr val="FF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qlServerAndDb</a:t>
              </a:r>
              <a:endParaRPr lang="en-US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F59A1A5-B385-A26E-C52C-75D1E7B4A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931" y="3253567"/>
            <a:ext cx="2389754" cy="2877458"/>
          </a:xfrm>
          <a:custGeom>
            <a:avLst/>
            <a:gdLst>
              <a:gd name="connsiteX0" fmla="*/ 0 w 2389754"/>
              <a:gd name="connsiteY0" fmla="*/ 0 h 2877458"/>
              <a:gd name="connsiteX1" fmla="*/ 525746 w 2389754"/>
              <a:gd name="connsiteY1" fmla="*/ 0 h 2877458"/>
              <a:gd name="connsiteX2" fmla="*/ 1075389 w 2389754"/>
              <a:gd name="connsiteY2" fmla="*/ 0 h 2877458"/>
              <a:gd name="connsiteX3" fmla="*/ 1696725 w 2389754"/>
              <a:gd name="connsiteY3" fmla="*/ 0 h 2877458"/>
              <a:gd name="connsiteX4" fmla="*/ 2389754 w 2389754"/>
              <a:gd name="connsiteY4" fmla="*/ 0 h 2877458"/>
              <a:gd name="connsiteX5" fmla="*/ 2389754 w 2389754"/>
              <a:gd name="connsiteY5" fmla="*/ 517942 h 2877458"/>
              <a:gd name="connsiteX6" fmla="*/ 2389754 w 2389754"/>
              <a:gd name="connsiteY6" fmla="*/ 1007110 h 2877458"/>
              <a:gd name="connsiteX7" fmla="*/ 2389754 w 2389754"/>
              <a:gd name="connsiteY7" fmla="*/ 1496278 h 2877458"/>
              <a:gd name="connsiteX8" fmla="*/ 2389754 w 2389754"/>
              <a:gd name="connsiteY8" fmla="*/ 2071770 h 2877458"/>
              <a:gd name="connsiteX9" fmla="*/ 2389754 w 2389754"/>
              <a:gd name="connsiteY9" fmla="*/ 2877458 h 2877458"/>
              <a:gd name="connsiteX10" fmla="*/ 1768418 w 2389754"/>
              <a:gd name="connsiteY10" fmla="*/ 2877458 h 2877458"/>
              <a:gd name="connsiteX11" fmla="*/ 1194877 w 2389754"/>
              <a:gd name="connsiteY11" fmla="*/ 2877458 h 2877458"/>
              <a:gd name="connsiteX12" fmla="*/ 669131 w 2389754"/>
              <a:gd name="connsiteY12" fmla="*/ 2877458 h 2877458"/>
              <a:gd name="connsiteX13" fmla="*/ 0 w 2389754"/>
              <a:gd name="connsiteY13" fmla="*/ 2877458 h 2877458"/>
              <a:gd name="connsiteX14" fmla="*/ 0 w 2389754"/>
              <a:gd name="connsiteY14" fmla="*/ 2359516 h 2877458"/>
              <a:gd name="connsiteX15" fmla="*/ 0 w 2389754"/>
              <a:gd name="connsiteY15" fmla="*/ 1784024 h 2877458"/>
              <a:gd name="connsiteX16" fmla="*/ 0 w 2389754"/>
              <a:gd name="connsiteY16" fmla="*/ 1150983 h 2877458"/>
              <a:gd name="connsiteX17" fmla="*/ 0 w 2389754"/>
              <a:gd name="connsiteY17" fmla="*/ 633041 h 2877458"/>
              <a:gd name="connsiteX18" fmla="*/ 0 w 2389754"/>
              <a:gd name="connsiteY18" fmla="*/ 0 h 287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9754" h="2877458" fill="none" extrusionOk="0">
                <a:moveTo>
                  <a:pt x="0" y="0"/>
                </a:moveTo>
                <a:cubicBezTo>
                  <a:pt x="133107" y="-23435"/>
                  <a:pt x="299730" y="-5013"/>
                  <a:pt x="525746" y="0"/>
                </a:cubicBezTo>
                <a:cubicBezTo>
                  <a:pt x="751762" y="5013"/>
                  <a:pt x="892925" y="-1822"/>
                  <a:pt x="1075389" y="0"/>
                </a:cubicBezTo>
                <a:cubicBezTo>
                  <a:pt x="1257853" y="1822"/>
                  <a:pt x="1500302" y="-10162"/>
                  <a:pt x="1696725" y="0"/>
                </a:cubicBezTo>
                <a:cubicBezTo>
                  <a:pt x="1893148" y="10162"/>
                  <a:pt x="2049565" y="-20828"/>
                  <a:pt x="2389754" y="0"/>
                </a:cubicBezTo>
                <a:cubicBezTo>
                  <a:pt x="2402202" y="203869"/>
                  <a:pt x="2387950" y="352813"/>
                  <a:pt x="2389754" y="517942"/>
                </a:cubicBezTo>
                <a:cubicBezTo>
                  <a:pt x="2391558" y="683071"/>
                  <a:pt x="2409321" y="825678"/>
                  <a:pt x="2389754" y="1007110"/>
                </a:cubicBezTo>
                <a:cubicBezTo>
                  <a:pt x="2370187" y="1188542"/>
                  <a:pt x="2402895" y="1339331"/>
                  <a:pt x="2389754" y="1496278"/>
                </a:cubicBezTo>
                <a:cubicBezTo>
                  <a:pt x="2376613" y="1653225"/>
                  <a:pt x="2399904" y="1937260"/>
                  <a:pt x="2389754" y="2071770"/>
                </a:cubicBezTo>
                <a:cubicBezTo>
                  <a:pt x="2379604" y="2206280"/>
                  <a:pt x="2396390" y="2500278"/>
                  <a:pt x="2389754" y="2877458"/>
                </a:cubicBezTo>
                <a:cubicBezTo>
                  <a:pt x="2115157" y="2865682"/>
                  <a:pt x="1973929" y="2895244"/>
                  <a:pt x="1768418" y="2877458"/>
                </a:cubicBezTo>
                <a:cubicBezTo>
                  <a:pt x="1562907" y="2859672"/>
                  <a:pt x="1328025" y="2893368"/>
                  <a:pt x="1194877" y="2877458"/>
                </a:cubicBezTo>
                <a:cubicBezTo>
                  <a:pt x="1061729" y="2861548"/>
                  <a:pt x="914358" y="2882944"/>
                  <a:pt x="669131" y="2877458"/>
                </a:cubicBezTo>
                <a:cubicBezTo>
                  <a:pt x="423904" y="2871972"/>
                  <a:pt x="134926" y="2901033"/>
                  <a:pt x="0" y="2877458"/>
                </a:cubicBezTo>
                <a:cubicBezTo>
                  <a:pt x="-13808" y="2620348"/>
                  <a:pt x="-16436" y="2518149"/>
                  <a:pt x="0" y="2359516"/>
                </a:cubicBezTo>
                <a:cubicBezTo>
                  <a:pt x="16436" y="2200883"/>
                  <a:pt x="20426" y="1917169"/>
                  <a:pt x="0" y="1784024"/>
                </a:cubicBezTo>
                <a:cubicBezTo>
                  <a:pt x="-20426" y="1650879"/>
                  <a:pt x="-26934" y="1377101"/>
                  <a:pt x="0" y="1150983"/>
                </a:cubicBezTo>
                <a:cubicBezTo>
                  <a:pt x="26934" y="924865"/>
                  <a:pt x="-1498" y="760957"/>
                  <a:pt x="0" y="633041"/>
                </a:cubicBezTo>
                <a:cubicBezTo>
                  <a:pt x="1498" y="505125"/>
                  <a:pt x="-30856" y="299793"/>
                  <a:pt x="0" y="0"/>
                </a:cubicBezTo>
                <a:close/>
              </a:path>
              <a:path w="2389754" h="2877458" stroke="0" extrusionOk="0">
                <a:moveTo>
                  <a:pt x="0" y="0"/>
                </a:moveTo>
                <a:cubicBezTo>
                  <a:pt x="232365" y="22396"/>
                  <a:pt x="377446" y="-6112"/>
                  <a:pt x="573541" y="0"/>
                </a:cubicBezTo>
                <a:cubicBezTo>
                  <a:pt x="769636" y="6112"/>
                  <a:pt x="990591" y="-22253"/>
                  <a:pt x="1099287" y="0"/>
                </a:cubicBezTo>
                <a:cubicBezTo>
                  <a:pt x="1207983" y="22253"/>
                  <a:pt x="1572197" y="-29793"/>
                  <a:pt x="1744520" y="0"/>
                </a:cubicBezTo>
                <a:cubicBezTo>
                  <a:pt x="1916843" y="29793"/>
                  <a:pt x="2226119" y="11190"/>
                  <a:pt x="2389754" y="0"/>
                </a:cubicBezTo>
                <a:cubicBezTo>
                  <a:pt x="2410754" y="158609"/>
                  <a:pt x="2385810" y="282181"/>
                  <a:pt x="2389754" y="546717"/>
                </a:cubicBezTo>
                <a:cubicBezTo>
                  <a:pt x="2393698" y="811253"/>
                  <a:pt x="2374729" y="834189"/>
                  <a:pt x="2389754" y="1064659"/>
                </a:cubicBezTo>
                <a:cubicBezTo>
                  <a:pt x="2404779" y="1295129"/>
                  <a:pt x="2398609" y="1502835"/>
                  <a:pt x="2389754" y="1640151"/>
                </a:cubicBezTo>
                <a:cubicBezTo>
                  <a:pt x="2380899" y="1777467"/>
                  <a:pt x="2390146" y="1983893"/>
                  <a:pt x="2389754" y="2215643"/>
                </a:cubicBezTo>
                <a:cubicBezTo>
                  <a:pt x="2389362" y="2447393"/>
                  <a:pt x="2378857" y="2567891"/>
                  <a:pt x="2389754" y="2877458"/>
                </a:cubicBezTo>
                <a:cubicBezTo>
                  <a:pt x="2127505" y="2853983"/>
                  <a:pt x="2080544" y="2900121"/>
                  <a:pt x="1840111" y="2877458"/>
                </a:cubicBezTo>
                <a:cubicBezTo>
                  <a:pt x="1599678" y="2854795"/>
                  <a:pt x="1368046" y="2854301"/>
                  <a:pt x="1242672" y="2877458"/>
                </a:cubicBezTo>
                <a:cubicBezTo>
                  <a:pt x="1117298" y="2900615"/>
                  <a:pt x="943880" y="2864572"/>
                  <a:pt x="669131" y="2877458"/>
                </a:cubicBezTo>
                <a:cubicBezTo>
                  <a:pt x="394382" y="2890344"/>
                  <a:pt x="193358" y="2883788"/>
                  <a:pt x="0" y="2877458"/>
                </a:cubicBezTo>
                <a:cubicBezTo>
                  <a:pt x="13521" y="2564229"/>
                  <a:pt x="-17920" y="2381602"/>
                  <a:pt x="0" y="2244417"/>
                </a:cubicBezTo>
                <a:cubicBezTo>
                  <a:pt x="17920" y="2107232"/>
                  <a:pt x="-30553" y="1887858"/>
                  <a:pt x="0" y="1611376"/>
                </a:cubicBezTo>
                <a:cubicBezTo>
                  <a:pt x="30553" y="1334894"/>
                  <a:pt x="-4126" y="1318349"/>
                  <a:pt x="0" y="1035885"/>
                </a:cubicBezTo>
                <a:cubicBezTo>
                  <a:pt x="4126" y="753421"/>
                  <a:pt x="31887" y="358663"/>
                  <a:pt x="0" y="0"/>
                </a:cubicBezTo>
                <a:close/>
              </a:path>
            </a:pathLst>
          </a:custGeom>
          <a:ln>
            <a:solidFill>
              <a:schemeClr val="accent4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85B7EA1-72BA-DDB8-A8ED-08B20CFD4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6002" y="3253567"/>
            <a:ext cx="4063630" cy="2923526"/>
          </a:xfrm>
          <a:custGeom>
            <a:avLst/>
            <a:gdLst>
              <a:gd name="connsiteX0" fmla="*/ 0 w 4063630"/>
              <a:gd name="connsiteY0" fmla="*/ 0 h 2923526"/>
              <a:gd name="connsiteX1" fmla="*/ 758544 w 4063630"/>
              <a:gd name="connsiteY1" fmla="*/ 0 h 2923526"/>
              <a:gd name="connsiteX2" fmla="*/ 1476452 w 4063630"/>
              <a:gd name="connsiteY2" fmla="*/ 0 h 2923526"/>
              <a:gd name="connsiteX3" fmla="*/ 2153724 w 4063630"/>
              <a:gd name="connsiteY3" fmla="*/ 0 h 2923526"/>
              <a:gd name="connsiteX4" fmla="*/ 2830996 w 4063630"/>
              <a:gd name="connsiteY4" fmla="*/ 0 h 2923526"/>
              <a:gd name="connsiteX5" fmla="*/ 4063630 w 4063630"/>
              <a:gd name="connsiteY5" fmla="*/ 0 h 2923526"/>
              <a:gd name="connsiteX6" fmla="*/ 4063630 w 4063630"/>
              <a:gd name="connsiteY6" fmla="*/ 613940 h 2923526"/>
              <a:gd name="connsiteX7" fmla="*/ 4063630 w 4063630"/>
              <a:gd name="connsiteY7" fmla="*/ 1140175 h 2923526"/>
              <a:gd name="connsiteX8" fmla="*/ 4063630 w 4063630"/>
              <a:gd name="connsiteY8" fmla="*/ 1754116 h 2923526"/>
              <a:gd name="connsiteX9" fmla="*/ 4063630 w 4063630"/>
              <a:gd name="connsiteY9" fmla="*/ 2251115 h 2923526"/>
              <a:gd name="connsiteX10" fmla="*/ 4063630 w 4063630"/>
              <a:gd name="connsiteY10" fmla="*/ 2923526 h 2923526"/>
              <a:gd name="connsiteX11" fmla="*/ 3467631 w 4063630"/>
              <a:gd name="connsiteY11" fmla="*/ 2923526 h 2923526"/>
              <a:gd name="connsiteX12" fmla="*/ 2709087 w 4063630"/>
              <a:gd name="connsiteY12" fmla="*/ 2923526 h 2923526"/>
              <a:gd name="connsiteX13" fmla="*/ 2072451 w 4063630"/>
              <a:gd name="connsiteY13" fmla="*/ 2923526 h 2923526"/>
              <a:gd name="connsiteX14" fmla="*/ 1313907 w 4063630"/>
              <a:gd name="connsiteY14" fmla="*/ 2923526 h 2923526"/>
              <a:gd name="connsiteX15" fmla="*/ 717908 w 4063630"/>
              <a:gd name="connsiteY15" fmla="*/ 2923526 h 2923526"/>
              <a:gd name="connsiteX16" fmla="*/ 0 w 4063630"/>
              <a:gd name="connsiteY16" fmla="*/ 2923526 h 2923526"/>
              <a:gd name="connsiteX17" fmla="*/ 0 w 4063630"/>
              <a:gd name="connsiteY17" fmla="*/ 2426527 h 2923526"/>
              <a:gd name="connsiteX18" fmla="*/ 0 w 4063630"/>
              <a:gd name="connsiteY18" fmla="*/ 1929527 h 2923526"/>
              <a:gd name="connsiteX19" fmla="*/ 0 w 4063630"/>
              <a:gd name="connsiteY19" fmla="*/ 1432528 h 2923526"/>
              <a:gd name="connsiteX20" fmla="*/ 0 w 4063630"/>
              <a:gd name="connsiteY20" fmla="*/ 789352 h 2923526"/>
              <a:gd name="connsiteX21" fmla="*/ 0 w 4063630"/>
              <a:gd name="connsiteY21" fmla="*/ 0 h 292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063630" h="2923526" fill="none" extrusionOk="0">
                <a:moveTo>
                  <a:pt x="0" y="0"/>
                </a:moveTo>
                <a:cubicBezTo>
                  <a:pt x="247644" y="28285"/>
                  <a:pt x="485734" y="-7486"/>
                  <a:pt x="758544" y="0"/>
                </a:cubicBezTo>
                <a:cubicBezTo>
                  <a:pt x="1031354" y="7486"/>
                  <a:pt x="1178682" y="-17452"/>
                  <a:pt x="1476452" y="0"/>
                </a:cubicBezTo>
                <a:cubicBezTo>
                  <a:pt x="1774222" y="17452"/>
                  <a:pt x="1824013" y="33352"/>
                  <a:pt x="2153724" y="0"/>
                </a:cubicBezTo>
                <a:cubicBezTo>
                  <a:pt x="2483435" y="-33352"/>
                  <a:pt x="2564462" y="5883"/>
                  <a:pt x="2830996" y="0"/>
                </a:cubicBezTo>
                <a:cubicBezTo>
                  <a:pt x="3097530" y="-5883"/>
                  <a:pt x="3537464" y="-22487"/>
                  <a:pt x="4063630" y="0"/>
                </a:cubicBezTo>
                <a:cubicBezTo>
                  <a:pt x="4083619" y="187530"/>
                  <a:pt x="4069864" y="423295"/>
                  <a:pt x="4063630" y="613940"/>
                </a:cubicBezTo>
                <a:cubicBezTo>
                  <a:pt x="4057396" y="804585"/>
                  <a:pt x="4075126" y="950481"/>
                  <a:pt x="4063630" y="1140175"/>
                </a:cubicBezTo>
                <a:cubicBezTo>
                  <a:pt x="4052134" y="1329870"/>
                  <a:pt x="4073458" y="1577989"/>
                  <a:pt x="4063630" y="1754116"/>
                </a:cubicBezTo>
                <a:cubicBezTo>
                  <a:pt x="4053802" y="1930243"/>
                  <a:pt x="4046432" y="2141027"/>
                  <a:pt x="4063630" y="2251115"/>
                </a:cubicBezTo>
                <a:cubicBezTo>
                  <a:pt x="4080828" y="2361203"/>
                  <a:pt x="4091934" y="2646779"/>
                  <a:pt x="4063630" y="2923526"/>
                </a:cubicBezTo>
                <a:cubicBezTo>
                  <a:pt x="3795274" y="2920891"/>
                  <a:pt x="3732435" y="2915187"/>
                  <a:pt x="3467631" y="2923526"/>
                </a:cubicBezTo>
                <a:cubicBezTo>
                  <a:pt x="3202827" y="2931865"/>
                  <a:pt x="2952366" y="2948692"/>
                  <a:pt x="2709087" y="2923526"/>
                </a:cubicBezTo>
                <a:cubicBezTo>
                  <a:pt x="2465808" y="2898360"/>
                  <a:pt x="2275957" y="2930073"/>
                  <a:pt x="2072451" y="2923526"/>
                </a:cubicBezTo>
                <a:cubicBezTo>
                  <a:pt x="1868945" y="2916979"/>
                  <a:pt x="1583481" y="2908661"/>
                  <a:pt x="1313907" y="2923526"/>
                </a:cubicBezTo>
                <a:cubicBezTo>
                  <a:pt x="1044333" y="2938391"/>
                  <a:pt x="992445" y="2938863"/>
                  <a:pt x="717908" y="2923526"/>
                </a:cubicBezTo>
                <a:cubicBezTo>
                  <a:pt x="443371" y="2908189"/>
                  <a:pt x="291352" y="2900995"/>
                  <a:pt x="0" y="2923526"/>
                </a:cubicBezTo>
                <a:cubicBezTo>
                  <a:pt x="1373" y="2724281"/>
                  <a:pt x="-92" y="2570503"/>
                  <a:pt x="0" y="2426527"/>
                </a:cubicBezTo>
                <a:cubicBezTo>
                  <a:pt x="92" y="2282551"/>
                  <a:pt x="-3497" y="2137812"/>
                  <a:pt x="0" y="1929527"/>
                </a:cubicBezTo>
                <a:cubicBezTo>
                  <a:pt x="3497" y="1721242"/>
                  <a:pt x="19849" y="1533148"/>
                  <a:pt x="0" y="1432528"/>
                </a:cubicBezTo>
                <a:cubicBezTo>
                  <a:pt x="-19849" y="1331908"/>
                  <a:pt x="22058" y="1104536"/>
                  <a:pt x="0" y="789352"/>
                </a:cubicBezTo>
                <a:cubicBezTo>
                  <a:pt x="-22058" y="474168"/>
                  <a:pt x="19221" y="340770"/>
                  <a:pt x="0" y="0"/>
                </a:cubicBezTo>
                <a:close/>
              </a:path>
              <a:path w="4063630" h="2923526" stroke="0" extrusionOk="0">
                <a:moveTo>
                  <a:pt x="0" y="0"/>
                </a:moveTo>
                <a:cubicBezTo>
                  <a:pt x="128503" y="-2086"/>
                  <a:pt x="393350" y="-22340"/>
                  <a:pt x="636635" y="0"/>
                </a:cubicBezTo>
                <a:cubicBezTo>
                  <a:pt x="879920" y="22340"/>
                  <a:pt x="1035071" y="-10689"/>
                  <a:pt x="1191998" y="0"/>
                </a:cubicBezTo>
                <a:cubicBezTo>
                  <a:pt x="1348925" y="10689"/>
                  <a:pt x="1689861" y="-17033"/>
                  <a:pt x="1950542" y="0"/>
                </a:cubicBezTo>
                <a:cubicBezTo>
                  <a:pt x="2211223" y="17033"/>
                  <a:pt x="2457492" y="26160"/>
                  <a:pt x="2587178" y="0"/>
                </a:cubicBezTo>
                <a:cubicBezTo>
                  <a:pt x="2716864" y="-26160"/>
                  <a:pt x="3051465" y="983"/>
                  <a:pt x="3223813" y="0"/>
                </a:cubicBezTo>
                <a:cubicBezTo>
                  <a:pt x="3396161" y="-983"/>
                  <a:pt x="3660109" y="-4880"/>
                  <a:pt x="4063630" y="0"/>
                </a:cubicBezTo>
                <a:cubicBezTo>
                  <a:pt x="4068709" y="213089"/>
                  <a:pt x="4068706" y="310032"/>
                  <a:pt x="4063630" y="526235"/>
                </a:cubicBezTo>
                <a:cubicBezTo>
                  <a:pt x="4058554" y="742439"/>
                  <a:pt x="4075100" y="821608"/>
                  <a:pt x="4063630" y="1110940"/>
                </a:cubicBezTo>
                <a:cubicBezTo>
                  <a:pt x="4052160" y="1400273"/>
                  <a:pt x="4089441" y="1474934"/>
                  <a:pt x="4063630" y="1637175"/>
                </a:cubicBezTo>
                <a:cubicBezTo>
                  <a:pt x="4037819" y="1799417"/>
                  <a:pt x="4059799" y="2022877"/>
                  <a:pt x="4063630" y="2163409"/>
                </a:cubicBezTo>
                <a:cubicBezTo>
                  <a:pt x="4067461" y="2303941"/>
                  <a:pt x="4066444" y="2664872"/>
                  <a:pt x="4063630" y="2923526"/>
                </a:cubicBezTo>
                <a:cubicBezTo>
                  <a:pt x="3874648" y="2890708"/>
                  <a:pt x="3522855" y="2919314"/>
                  <a:pt x="3345722" y="2923526"/>
                </a:cubicBezTo>
                <a:cubicBezTo>
                  <a:pt x="3168589" y="2927738"/>
                  <a:pt x="2856175" y="2887062"/>
                  <a:pt x="2587178" y="2923526"/>
                </a:cubicBezTo>
                <a:cubicBezTo>
                  <a:pt x="2318181" y="2959990"/>
                  <a:pt x="2043736" y="2932511"/>
                  <a:pt x="1828634" y="2923526"/>
                </a:cubicBezTo>
                <a:cubicBezTo>
                  <a:pt x="1613532" y="2914541"/>
                  <a:pt x="1511890" y="2926555"/>
                  <a:pt x="1232634" y="2923526"/>
                </a:cubicBezTo>
                <a:cubicBezTo>
                  <a:pt x="953378" y="2920497"/>
                  <a:pt x="554190" y="2930531"/>
                  <a:pt x="0" y="2923526"/>
                </a:cubicBezTo>
                <a:cubicBezTo>
                  <a:pt x="1053" y="2624952"/>
                  <a:pt x="26705" y="2454867"/>
                  <a:pt x="0" y="2280350"/>
                </a:cubicBezTo>
                <a:cubicBezTo>
                  <a:pt x="-26705" y="2105833"/>
                  <a:pt x="1206" y="2028193"/>
                  <a:pt x="0" y="1783351"/>
                </a:cubicBezTo>
                <a:cubicBezTo>
                  <a:pt x="-1206" y="1538509"/>
                  <a:pt x="11936" y="1414810"/>
                  <a:pt x="0" y="1257116"/>
                </a:cubicBezTo>
                <a:cubicBezTo>
                  <a:pt x="-11936" y="1099423"/>
                  <a:pt x="-6444" y="967434"/>
                  <a:pt x="0" y="730881"/>
                </a:cubicBezTo>
                <a:cubicBezTo>
                  <a:pt x="6444" y="494329"/>
                  <a:pt x="-20618" y="192484"/>
                  <a:pt x="0" y="0"/>
                </a:cubicBezTo>
                <a:close/>
              </a:path>
            </a:pathLst>
          </a:custGeom>
          <a:ln>
            <a:solidFill>
              <a:schemeClr val="accent1">
                <a:lumMod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2182359-494F-07E1-AAD5-B90FFBB77957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1F9C38-87D0-3D49-50C8-34977BF6019D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F04619E-A7A3-E7F3-1D25-02B0052C106F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0782430-C68F-ADC4-91D5-99C4CF2E3C89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24FDDFB-07C5-0261-CE5B-3054B7D8F70A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2" name="Freeform 78">
                <a:extLst>
                  <a:ext uri="{FF2B5EF4-FFF2-40B4-BE49-F238E27FC236}">
                    <a16:creationId xmlns:a16="http://schemas.microsoft.com/office/drawing/2014/main" id="{FCCA182E-BEDD-F891-8966-1DEBD9749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Freeform 79">
                <a:extLst>
                  <a:ext uri="{FF2B5EF4-FFF2-40B4-BE49-F238E27FC236}">
                    <a16:creationId xmlns:a16="http://schemas.microsoft.com/office/drawing/2014/main" id="{79EB7214-1FBF-ADE6-2E73-34D3D1BC3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4" name="Freeform 80">
                <a:extLst>
                  <a:ext uri="{FF2B5EF4-FFF2-40B4-BE49-F238E27FC236}">
                    <a16:creationId xmlns:a16="http://schemas.microsoft.com/office/drawing/2014/main" id="{37013728-CD6C-B9B7-688C-2D62846F3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Freeform 81">
                <a:extLst>
                  <a:ext uri="{FF2B5EF4-FFF2-40B4-BE49-F238E27FC236}">
                    <a16:creationId xmlns:a16="http://schemas.microsoft.com/office/drawing/2014/main" id="{50B348CD-37A7-12A8-6957-840B38A32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Freeform 82">
                <a:extLst>
                  <a:ext uri="{FF2B5EF4-FFF2-40B4-BE49-F238E27FC236}">
                    <a16:creationId xmlns:a16="http://schemas.microsoft.com/office/drawing/2014/main" id="{2A176BC7-BD7A-6EA7-B372-2D6806FF5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Freeform 83">
                <a:extLst>
                  <a:ext uri="{FF2B5EF4-FFF2-40B4-BE49-F238E27FC236}">
                    <a16:creationId xmlns:a16="http://schemas.microsoft.com/office/drawing/2014/main" id="{3001CDAD-490D-8E3B-1668-7945EAE77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Freeform 84">
                <a:extLst>
                  <a:ext uri="{FF2B5EF4-FFF2-40B4-BE49-F238E27FC236}">
                    <a16:creationId xmlns:a16="http://schemas.microsoft.com/office/drawing/2014/main" id="{37ED447B-7EED-44F1-0213-1C38E297B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85">
                <a:extLst>
                  <a:ext uri="{FF2B5EF4-FFF2-40B4-BE49-F238E27FC236}">
                    <a16:creationId xmlns:a16="http://schemas.microsoft.com/office/drawing/2014/main" id="{BF0724B6-41A8-0FE0-968B-7F45EB369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86">
                <a:extLst>
                  <a:ext uri="{FF2B5EF4-FFF2-40B4-BE49-F238E27FC236}">
                    <a16:creationId xmlns:a16="http://schemas.microsoft.com/office/drawing/2014/main" id="{2DC21820-7621-3063-2E1E-425F6C694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87">
                <a:extLst>
                  <a:ext uri="{FF2B5EF4-FFF2-40B4-BE49-F238E27FC236}">
                    <a16:creationId xmlns:a16="http://schemas.microsoft.com/office/drawing/2014/main" id="{DE0696BF-3EFE-B677-B422-92D413606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Freeform 88">
                <a:extLst>
                  <a:ext uri="{FF2B5EF4-FFF2-40B4-BE49-F238E27FC236}">
                    <a16:creationId xmlns:a16="http://schemas.microsoft.com/office/drawing/2014/main" id="{CD2A1BEF-FF0A-2CC1-196D-D25096380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3" name="Freeform 89">
                <a:extLst>
                  <a:ext uri="{FF2B5EF4-FFF2-40B4-BE49-F238E27FC236}">
                    <a16:creationId xmlns:a16="http://schemas.microsoft.com/office/drawing/2014/main" id="{AD2D8C09-9ED7-D4D4-7E86-EE68E0B0C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BB8279-E390-D2A2-8D3D-5DF6E8099412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336ACB4-B055-41A1-D5E5-87711D04BEA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37" name="Rectángulo redondeado 14">
              <a:extLst>
                <a:ext uri="{FF2B5EF4-FFF2-40B4-BE49-F238E27FC236}">
                  <a16:creationId xmlns:a16="http://schemas.microsoft.com/office/drawing/2014/main" id="{08488198-9050-8345-2571-1595D919CCBA}"/>
                </a:ext>
              </a:extLst>
            </p:cNvPr>
            <p:cNvSpPr/>
            <p:nvPr/>
          </p:nvSpPr>
          <p:spPr>
            <a:xfrm>
              <a:off x="207122" y="215979"/>
              <a:ext cx="9656232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Rectángulo 12">
              <a:extLst>
                <a:ext uri="{FF2B5EF4-FFF2-40B4-BE49-F238E27FC236}">
                  <a16:creationId xmlns:a16="http://schemas.microsoft.com/office/drawing/2014/main" id="{EE69D4A6-6CF4-4A93-B880-2093452A600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UI composi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4" y="1825625"/>
            <a:ext cx="4954814" cy="4270375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Rich UI for Portal User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etter Input valida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I development does not requir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SoftDev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skill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Supports versioning with release note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dempotency-er (dependencies are always statically included)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No Bicep registry needed for distribution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niversal piece of the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 puzz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18E747-3ED6-C2AE-EB17-E07ACC73CB9C}"/>
              </a:ext>
            </a:extLst>
          </p:cNvPr>
          <p:cNvSpPr txBox="1">
            <a:spLocks/>
          </p:cNvSpPr>
          <p:nvPr/>
        </p:nvSpPr>
        <p:spPr>
          <a:xfrm>
            <a:off x="6193971" y="1825624"/>
            <a:ext cx="5433785" cy="4270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I does not support Deployment Stacks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Initial deployment cannot be named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JSON UI definition complicates with scale</a:t>
            </a:r>
          </a:p>
          <a:p>
            <a:pPr>
              <a:buFontTx/>
              <a:buChar char="-"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ortal User identity and RBAC used (might be tricky to refine RBAC)</a:t>
            </a: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Tx/>
              <a:buChar char="-"/>
            </a:pP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0B1ADA-681B-5A84-223A-6302E7D76837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9" name="Rectángulo redondeado 14">
              <a:extLst>
                <a:ext uri="{FF2B5EF4-FFF2-40B4-BE49-F238E27FC236}">
                  <a16:creationId xmlns:a16="http://schemas.microsoft.com/office/drawing/2014/main" id="{434522CD-F1BA-EA12-6900-D7C1F579C0DE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Rectángulo 12">
              <a:extLst>
                <a:ext uri="{FF2B5EF4-FFF2-40B4-BE49-F238E27FC236}">
                  <a16:creationId xmlns:a16="http://schemas.microsoft.com/office/drawing/2014/main" id="{4C3C6B42-B85B-868A-B57B-F054759CEF72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pros and 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55449" y="1252539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everywher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S for non prod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How applicable are they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9E8AF3D-1EAF-3D92-3CFA-C4A590B5AFD8}"/>
              </a:ext>
            </a:extLst>
          </p:cNvPr>
          <p:cNvGrpSpPr/>
          <p:nvPr/>
        </p:nvGrpSpPr>
        <p:grpSpPr>
          <a:xfrm>
            <a:off x="8034914" y="2225539"/>
            <a:ext cx="2827770" cy="2409877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4" name="Freeform 231">
              <a:extLst>
                <a:ext uri="{FF2B5EF4-FFF2-40B4-BE49-F238E27FC236}">
                  <a16:creationId xmlns:a16="http://schemas.microsoft.com/office/drawing/2014/main" id="{C9781F0F-166A-A156-9B94-A6484773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232">
              <a:extLst>
                <a:ext uri="{FF2B5EF4-FFF2-40B4-BE49-F238E27FC236}">
                  <a16:creationId xmlns:a16="http://schemas.microsoft.com/office/drawing/2014/main" id="{D07925B3-D07E-5682-2CD8-D26250059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233">
              <a:extLst>
                <a:ext uri="{FF2B5EF4-FFF2-40B4-BE49-F238E27FC236}">
                  <a16:creationId xmlns:a16="http://schemas.microsoft.com/office/drawing/2014/main" id="{344D02D9-C805-3125-FADF-63ACDB6AE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234">
              <a:extLst>
                <a:ext uri="{FF2B5EF4-FFF2-40B4-BE49-F238E27FC236}">
                  <a16:creationId xmlns:a16="http://schemas.microsoft.com/office/drawing/2014/main" id="{3E0BFF5F-04A7-F1F6-715B-17B0A469F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35">
              <a:extLst>
                <a:ext uri="{FF2B5EF4-FFF2-40B4-BE49-F238E27FC236}">
                  <a16:creationId xmlns:a16="http://schemas.microsoft.com/office/drawing/2014/main" id="{32A5A03E-CCCF-675C-462D-53DA7371C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UI form development might be unnecessary in large enterprises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3020817" y="3707415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trict User RBAC is very hard in large enterprise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106" y="539761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Use Template Specs instead of Bicep Registry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FFC000"/>
          </a:solidFill>
          <a:ln w="25400">
            <a:solidFill>
              <a:srgbClr val="FFD10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2C7CC4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852585" y="4260714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4FCBF0-674E-F049-4E74-124DFC4D51DE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5" name="Rectángulo redondeado 14">
              <a:extLst>
                <a:ext uri="{FF2B5EF4-FFF2-40B4-BE49-F238E27FC236}">
                  <a16:creationId xmlns:a16="http://schemas.microsoft.com/office/drawing/2014/main" id="{204FDE83-D1DD-A636-1171-76EC1B1C63DB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Rectángulo 12">
              <a:extLst>
                <a:ext uri="{FF2B5EF4-FFF2-40B4-BE49-F238E27FC236}">
                  <a16:creationId xmlns:a16="http://schemas.microsoft.com/office/drawing/2014/main" id="{A9B4BD47-ABBD-0F92-370C-8CC242548EF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everyw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792687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What does that means? – Something developed in dev/sandbox has a high change to work in stg and </a:t>
            </a:r>
            <a:r>
              <a:rPr lang="en-US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3103689" y="2552293"/>
            <a:ext cx="1291179" cy="1287835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2986206" y="3717144"/>
            <a:ext cx="1397819" cy="369332"/>
          </a:xfrm>
          <a:custGeom>
            <a:avLst/>
            <a:gdLst>
              <a:gd name="connsiteX0" fmla="*/ 0 w 1397819"/>
              <a:gd name="connsiteY0" fmla="*/ 0 h 369332"/>
              <a:gd name="connsiteX1" fmla="*/ 451961 w 1397819"/>
              <a:gd name="connsiteY1" fmla="*/ 0 h 369332"/>
              <a:gd name="connsiteX2" fmla="*/ 875967 w 1397819"/>
              <a:gd name="connsiteY2" fmla="*/ 0 h 369332"/>
              <a:gd name="connsiteX3" fmla="*/ 1397819 w 1397819"/>
              <a:gd name="connsiteY3" fmla="*/ 0 h 369332"/>
              <a:gd name="connsiteX4" fmla="*/ 1397819 w 1397819"/>
              <a:gd name="connsiteY4" fmla="*/ 369332 h 369332"/>
              <a:gd name="connsiteX5" fmla="*/ 959836 w 1397819"/>
              <a:gd name="connsiteY5" fmla="*/ 369332 h 369332"/>
              <a:gd name="connsiteX6" fmla="*/ 465940 w 1397819"/>
              <a:gd name="connsiteY6" fmla="*/ 369332 h 369332"/>
              <a:gd name="connsiteX7" fmla="*/ 0 w 1397819"/>
              <a:gd name="connsiteY7" fmla="*/ 369332 h 369332"/>
              <a:gd name="connsiteX8" fmla="*/ 0 w 139781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7819" h="369332" extrusionOk="0">
                <a:moveTo>
                  <a:pt x="0" y="0"/>
                </a:moveTo>
                <a:cubicBezTo>
                  <a:pt x="146299" y="-19519"/>
                  <a:pt x="313697" y="14352"/>
                  <a:pt x="451961" y="0"/>
                </a:cubicBezTo>
                <a:cubicBezTo>
                  <a:pt x="590225" y="-14352"/>
                  <a:pt x="723451" y="12726"/>
                  <a:pt x="875967" y="0"/>
                </a:cubicBezTo>
                <a:cubicBezTo>
                  <a:pt x="1028483" y="-12726"/>
                  <a:pt x="1198415" y="20924"/>
                  <a:pt x="1397819" y="0"/>
                </a:cubicBezTo>
                <a:cubicBezTo>
                  <a:pt x="1433407" y="113493"/>
                  <a:pt x="1371012" y="197069"/>
                  <a:pt x="1397819" y="369332"/>
                </a:cubicBezTo>
                <a:cubicBezTo>
                  <a:pt x="1188541" y="417934"/>
                  <a:pt x="1124288" y="367419"/>
                  <a:pt x="959836" y="369332"/>
                </a:cubicBezTo>
                <a:cubicBezTo>
                  <a:pt x="795384" y="371245"/>
                  <a:pt x="697215" y="321315"/>
                  <a:pt x="465940" y="369332"/>
                </a:cubicBezTo>
                <a:cubicBezTo>
                  <a:pt x="234665" y="417349"/>
                  <a:pt x="137017" y="34447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ortal User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4C819CB-44CB-D33A-9824-A4E4EB4E3B08}"/>
              </a:ext>
            </a:extLst>
          </p:cNvPr>
          <p:cNvGrpSpPr/>
          <p:nvPr/>
        </p:nvGrpSpPr>
        <p:grpSpPr>
          <a:xfrm>
            <a:off x="5300020" y="2937559"/>
            <a:ext cx="2397874" cy="2733316"/>
            <a:chOff x="4187983" y="2655114"/>
            <a:chExt cx="2397874" cy="2733316"/>
          </a:xfrm>
        </p:grpSpPr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C2FC9430-89FA-B6F5-FF73-09BF4CD95552}"/>
                </a:ext>
              </a:extLst>
            </p:cNvPr>
            <p:cNvSpPr txBox="1">
              <a:spLocks/>
            </p:cNvSpPr>
            <p:nvPr/>
          </p:nvSpPr>
          <p:spPr>
            <a:xfrm>
              <a:off x="4398363" y="4349404"/>
              <a:ext cx="2053029" cy="8569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ui.json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template.bicep</a:t>
              </a: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24EF291-C501-D101-0029-071EE9043CF4}"/>
                </a:ext>
              </a:extLst>
            </p:cNvPr>
            <p:cNvSpPr/>
            <p:nvPr/>
          </p:nvSpPr>
          <p:spPr>
            <a:xfrm>
              <a:off x="4187983" y="2655114"/>
              <a:ext cx="2397874" cy="2733316"/>
            </a:xfrm>
            <a:custGeom>
              <a:avLst/>
              <a:gdLst>
                <a:gd name="connsiteX0" fmla="*/ 0 w 2397874"/>
                <a:gd name="connsiteY0" fmla="*/ 399654 h 2733316"/>
                <a:gd name="connsiteX1" fmla="*/ 399654 w 2397874"/>
                <a:gd name="connsiteY1" fmla="*/ 0 h 2733316"/>
                <a:gd name="connsiteX2" fmla="*/ 964481 w 2397874"/>
                <a:gd name="connsiteY2" fmla="*/ 0 h 2733316"/>
                <a:gd name="connsiteX3" fmla="*/ 1481350 w 2397874"/>
                <a:gd name="connsiteY3" fmla="*/ 0 h 2733316"/>
                <a:gd name="connsiteX4" fmla="*/ 1998220 w 2397874"/>
                <a:gd name="connsiteY4" fmla="*/ 0 h 2733316"/>
                <a:gd name="connsiteX5" fmla="*/ 2397874 w 2397874"/>
                <a:gd name="connsiteY5" fmla="*/ 399654 h 2733316"/>
                <a:gd name="connsiteX6" fmla="*/ 2397874 w 2397874"/>
                <a:gd name="connsiteY6" fmla="*/ 844476 h 2733316"/>
                <a:gd name="connsiteX7" fmla="*/ 2397874 w 2397874"/>
                <a:gd name="connsiteY7" fmla="*/ 1289298 h 2733316"/>
                <a:gd name="connsiteX8" fmla="*/ 2397874 w 2397874"/>
                <a:gd name="connsiteY8" fmla="*/ 1811480 h 2733316"/>
                <a:gd name="connsiteX9" fmla="*/ 2397874 w 2397874"/>
                <a:gd name="connsiteY9" fmla="*/ 2333662 h 2733316"/>
                <a:gd name="connsiteX10" fmla="*/ 1998220 w 2397874"/>
                <a:gd name="connsiteY10" fmla="*/ 2733316 h 2733316"/>
                <a:gd name="connsiteX11" fmla="*/ 1449379 w 2397874"/>
                <a:gd name="connsiteY11" fmla="*/ 2733316 h 2733316"/>
                <a:gd name="connsiteX12" fmla="*/ 884552 w 2397874"/>
                <a:gd name="connsiteY12" fmla="*/ 2733316 h 2733316"/>
                <a:gd name="connsiteX13" fmla="*/ 399654 w 2397874"/>
                <a:gd name="connsiteY13" fmla="*/ 2733316 h 2733316"/>
                <a:gd name="connsiteX14" fmla="*/ 0 w 2397874"/>
                <a:gd name="connsiteY14" fmla="*/ 2333662 h 2733316"/>
                <a:gd name="connsiteX15" fmla="*/ 0 w 2397874"/>
                <a:gd name="connsiteY15" fmla="*/ 1830820 h 2733316"/>
                <a:gd name="connsiteX16" fmla="*/ 0 w 2397874"/>
                <a:gd name="connsiteY16" fmla="*/ 1347318 h 2733316"/>
                <a:gd name="connsiteX17" fmla="*/ 0 w 2397874"/>
                <a:gd name="connsiteY17" fmla="*/ 921836 h 2733316"/>
                <a:gd name="connsiteX18" fmla="*/ 0 w 2397874"/>
                <a:gd name="connsiteY18" fmla="*/ 399654 h 273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97874" h="2733316" extrusionOk="0">
                  <a:moveTo>
                    <a:pt x="0" y="399654"/>
                  </a:moveTo>
                  <a:cubicBezTo>
                    <a:pt x="-10482" y="172466"/>
                    <a:pt x="152588" y="9887"/>
                    <a:pt x="399654" y="0"/>
                  </a:cubicBezTo>
                  <a:cubicBezTo>
                    <a:pt x="540667" y="-11066"/>
                    <a:pt x="695052" y="22642"/>
                    <a:pt x="964481" y="0"/>
                  </a:cubicBezTo>
                  <a:cubicBezTo>
                    <a:pt x="1233910" y="-22642"/>
                    <a:pt x="1262477" y="1226"/>
                    <a:pt x="1481350" y="0"/>
                  </a:cubicBezTo>
                  <a:cubicBezTo>
                    <a:pt x="1700223" y="-1226"/>
                    <a:pt x="1885382" y="38571"/>
                    <a:pt x="1998220" y="0"/>
                  </a:cubicBezTo>
                  <a:cubicBezTo>
                    <a:pt x="2208875" y="-32428"/>
                    <a:pt x="2403850" y="156817"/>
                    <a:pt x="2397874" y="399654"/>
                  </a:cubicBezTo>
                  <a:cubicBezTo>
                    <a:pt x="2451140" y="558425"/>
                    <a:pt x="2388997" y="726433"/>
                    <a:pt x="2397874" y="844476"/>
                  </a:cubicBezTo>
                  <a:cubicBezTo>
                    <a:pt x="2406751" y="962519"/>
                    <a:pt x="2384850" y="1113238"/>
                    <a:pt x="2397874" y="1289298"/>
                  </a:cubicBezTo>
                  <a:cubicBezTo>
                    <a:pt x="2410898" y="1465358"/>
                    <a:pt x="2368204" y="1643424"/>
                    <a:pt x="2397874" y="1811480"/>
                  </a:cubicBezTo>
                  <a:cubicBezTo>
                    <a:pt x="2427544" y="1979536"/>
                    <a:pt x="2355214" y="2219126"/>
                    <a:pt x="2397874" y="2333662"/>
                  </a:cubicBezTo>
                  <a:cubicBezTo>
                    <a:pt x="2391322" y="2554010"/>
                    <a:pt x="2223980" y="2719503"/>
                    <a:pt x="1998220" y="2733316"/>
                  </a:cubicBezTo>
                  <a:cubicBezTo>
                    <a:pt x="1778184" y="2765386"/>
                    <a:pt x="1564337" y="2673273"/>
                    <a:pt x="1449379" y="2733316"/>
                  </a:cubicBezTo>
                  <a:cubicBezTo>
                    <a:pt x="1334421" y="2793359"/>
                    <a:pt x="1041443" y="2685170"/>
                    <a:pt x="884552" y="2733316"/>
                  </a:cubicBezTo>
                  <a:cubicBezTo>
                    <a:pt x="727661" y="2781462"/>
                    <a:pt x="548119" y="2732036"/>
                    <a:pt x="399654" y="2733316"/>
                  </a:cubicBezTo>
                  <a:cubicBezTo>
                    <a:pt x="128869" y="2741537"/>
                    <a:pt x="-27707" y="2535268"/>
                    <a:pt x="0" y="2333662"/>
                  </a:cubicBezTo>
                  <a:cubicBezTo>
                    <a:pt x="-46360" y="2218243"/>
                    <a:pt x="59734" y="2029316"/>
                    <a:pt x="0" y="1830820"/>
                  </a:cubicBezTo>
                  <a:cubicBezTo>
                    <a:pt x="-59734" y="1632324"/>
                    <a:pt x="6734" y="1552325"/>
                    <a:pt x="0" y="1347318"/>
                  </a:cubicBezTo>
                  <a:cubicBezTo>
                    <a:pt x="-6734" y="1142311"/>
                    <a:pt x="44272" y="1098623"/>
                    <a:pt x="0" y="921836"/>
                  </a:cubicBezTo>
                  <a:cubicBezTo>
                    <a:pt x="-44272" y="745049"/>
                    <a:pt x="59653" y="639142"/>
                    <a:pt x="0" y="399654"/>
                  </a:cubicBezTo>
                  <a:close/>
                </a:path>
              </a:pathLst>
            </a:custGeom>
            <a:noFill/>
            <a:ln w="25400"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35B091D-0AC3-8352-5FC4-534BEEAB9F6D}"/>
                </a:ext>
              </a:extLst>
            </p:cNvPr>
            <p:cNvGrpSpPr/>
            <p:nvPr/>
          </p:nvGrpSpPr>
          <p:grpSpPr>
            <a:xfrm>
              <a:off x="4821882" y="2814862"/>
              <a:ext cx="1205990" cy="1353021"/>
              <a:chOff x="6618867" y="3226748"/>
              <a:chExt cx="1025861" cy="108928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B4128EE-DA62-3C7D-8014-A881FECF1B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8572" y="3226748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3B3078C3-8143-909C-2BEE-0B8CD50B3D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8686" y="3315374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6C88CD1-5045-3A5E-AD25-30704E22BD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8867" y="3429000"/>
                <a:ext cx="776156" cy="8870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F126B8A-93B9-D2F9-F159-4B8D2A75B3DD}"/>
              </a:ext>
            </a:extLst>
          </p:cNvPr>
          <p:cNvGrpSpPr/>
          <p:nvPr/>
        </p:nvGrpSpPr>
        <p:grpSpPr>
          <a:xfrm>
            <a:off x="8235766" y="2552293"/>
            <a:ext cx="3226438" cy="3168521"/>
            <a:chOff x="7532914" y="2526460"/>
            <a:chExt cx="3226438" cy="3168521"/>
          </a:xfrm>
        </p:grpSpPr>
        <p:pic>
          <p:nvPicPr>
            <p:cNvPr id="15" name="Picture 14" descr="A blue letter a made of toy building blocks&#10;&#10;Description automatically generated">
              <a:extLst>
                <a:ext uri="{FF2B5EF4-FFF2-40B4-BE49-F238E27FC236}">
                  <a16:creationId xmlns:a16="http://schemas.microsoft.com/office/drawing/2014/main" id="{FCC4914A-A8C0-9BC5-4089-27074B66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7925" y="2526460"/>
              <a:ext cx="1963754" cy="1963754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804B82E-E9C1-DD3E-AEBA-9A64F4356BD5}"/>
                </a:ext>
              </a:extLst>
            </p:cNvPr>
            <p:cNvSpPr/>
            <p:nvPr/>
          </p:nvSpPr>
          <p:spPr>
            <a:xfrm>
              <a:off x="8729254" y="4337825"/>
              <a:ext cx="1270677" cy="386034"/>
            </a:xfrm>
            <a:custGeom>
              <a:avLst/>
              <a:gdLst>
                <a:gd name="connsiteX0" fmla="*/ 0 w 1270677"/>
                <a:gd name="connsiteY0" fmla="*/ 64340 h 386034"/>
                <a:gd name="connsiteX1" fmla="*/ 64340 w 1270677"/>
                <a:gd name="connsiteY1" fmla="*/ 0 h 386034"/>
                <a:gd name="connsiteX2" fmla="*/ 658178 w 1270677"/>
                <a:gd name="connsiteY2" fmla="*/ 0 h 386034"/>
                <a:gd name="connsiteX3" fmla="*/ 1206337 w 1270677"/>
                <a:gd name="connsiteY3" fmla="*/ 0 h 386034"/>
                <a:gd name="connsiteX4" fmla="*/ 1270677 w 1270677"/>
                <a:gd name="connsiteY4" fmla="*/ 64340 h 386034"/>
                <a:gd name="connsiteX5" fmla="*/ 1270677 w 1270677"/>
                <a:gd name="connsiteY5" fmla="*/ 321694 h 386034"/>
                <a:gd name="connsiteX6" fmla="*/ 1206337 w 1270677"/>
                <a:gd name="connsiteY6" fmla="*/ 386034 h 386034"/>
                <a:gd name="connsiteX7" fmla="*/ 635339 w 1270677"/>
                <a:gd name="connsiteY7" fmla="*/ 386034 h 386034"/>
                <a:gd name="connsiteX8" fmla="*/ 64340 w 1270677"/>
                <a:gd name="connsiteY8" fmla="*/ 386034 h 386034"/>
                <a:gd name="connsiteX9" fmla="*/ 0 w 1270677"/>
                <a:gd name="connsiteY9" fmla="*/ 321694 h 386034"/>
                <a:gd name="connsiteX10" fmla="*/ 0 w 1270677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0677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05104" y="-12353"/>
                    <a:pt x="404359" y="-13726"/>
                    <a:pt x="658178" y="0"/>
                  </a:cubicBezTo>
                  <a:cubicBezTo>
                    <a:pt x="911997" y="13726"/>
                    <a:pt x="1013716" y="-11684"/>
                    <a:pt x="1206337" y="0"/>
                  </a:cubicBezTo>
                  <a:cubicBezTo>
                    <a:pt x="1234352" y="-4114"/>
                    <a:pt x="1274606" y="30683"/>
                    <a:pt x="1270677" y="64340"/>
                  </a:cubicBezTo>
                  <a:cubicBezTo>
                    <a:pt x="1276931" y="162416"/>
                    <a:pt x="1279897" y="205598"/>
                    <a:pt x="1270677" y="321694"/>
                  </a:cubicBezTo>
                  <a:cubicBezTo>
                    <a:pt x="1272476" y="354301"/>
                    <a:pt x="1236545" y="390714"/>
                    <a:pt x="1206337" y="386034"/>
                  </a:cubicBezTo>
                  <a:cubicBezTo>
                    <a:pt x="1018204" y="391331"/>
                    <a:pt x="872347" y="408582"/>
                    <a:pt x="635339" y="386034"/>
                  </a:cubicBezTo>
                  <a:cubicBezTo>
                    <a:pt x="398331" y="363486"/>
                    <a:pt x="230275" y="367458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tform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4BBAE00B-5B22-3315-FC13-44FF9745CE42}"/>
                </a:ext>
              </a:extLst>
            </p:cNvPr>
            <p:cNvSpPr/>
            <p:nvPr/>
          </p:nvSpPr>
          <p:spPr>
            <a:xfrm>
              <a:off x="7532914" y="4820356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</a:t>
              </a:r>
              <a:r>
                <a:rPr lang="en-US" dirty="0" err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d</a:t>
              </a:r>
              <a:endPara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3AF4BB0-878B-34E8-5660-762F56526A7D}"/>
                </a:ext>
              </a:extLst>
            </p:cNvPr>
            <p:cNvSpPr/>
            <p:nvPr/>
          </p:nvSpPr>
          <p:spPr>
            <a:xfrm>
              <a:off x="8803591" y="4834271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tg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B09B066-EBED-F2DD-F147-FF8FFF711CCA}"/>
                </a:ext>
              </a:extLst>
            </p:cNvPr>
            <p:cNvSpPr/>
            <p:nvPr/>
          </p:nvSpPr>
          <p:spPr>
            <a:xfrm>
              <a:off x="9563012" y="5308014"/>
              <a:ext cx="1196340" cy="386034"/>
            </a:xfrm>
            <a:custGeom>
              <a:avLst/>
              <a:gdLst>
                <a:gd name="connsiteX0" fmla="*/ 0 w 1196340"/>
                <a:gd name="connsiteY0" fmla="*/ 64340 h 386034"/>
                <a:gd name="connsiteX1" fmla="*/ 64340 w 1196340"/>
                <a:gd name="connsiteY1" fmla="*/ 0 h 386034"/>
                <a:gd name="connsiteX2" fmla="*/ 619523 w 1196340"/>
                <a:gd name="connsiteY2" fmla="*/ 0 h 386034"/>
                <a:gd name="connsiteX3" fmla="*/ 1132000 w 1196340"/>
                <a:gd name="connsiteY3" fmla="*/ 0 h 386034"/>
                <a:gd name="connsiteX4" fmla="*/ 1196340 w 1196340"/>
                <a:gd name="connsiteY4" fmla="*/ 64340 h 386034"/>
                <a:gd name="connsiteX5" fmla="*/ 1196340 w 1196340"/>
                <a:gd name="connsiteY5" fmla="*/ 321694 h 386034"/>
                <a:gd name="connsiteX6" fmla="*/ 1132000 w 1196340"/>
                <a:gd name="connsiteY6" fmla="*/ 386034 h 386034"/>
                <a:gd name="connsiteX7" fmla="*/ 598170 w 1196340"/>
                <a:gd name="connsiteY7" fmla="*/ 386034 h 386034"/>
                <a:gd name="connsiteX8" fmla="*/ 64340 w 1196340"/>
                <a:gd name="connsiteY8" fmla="*/ 386034 h 386034"/>
                <a:gd name="connsiteX9" fmla="*/ 0 w 1196340"/>
                <a:gd name="connsiteY9" fmla="*/ 321694 h 386034"/>
                <a:gd name="connsiteX10" fmla="*/ 0 w 1196340"/>
                <a:gd name="connsiteY10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6340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22141" y="-16284"/>
                    <a:pt x="506193" y="25321"/>
                    <a:pt x="619523" y="0"/>
                  </a:cubicBezTo>
                  <a:cubicBezTo>
                    <a:pt x="732853" y="-25321"/>
                    <a:pt x="1012710" y="-17698"/>
                    <a:pt x="1132000" y="0"/>
                  </a:cubicBezTo>
                  <a:cubicBezTo>
                    <a:pt x="1160015" y="-4114"/>
                    <a:pt x="1200269" y="30683"/>
                    <a:pt x="1196340" y="64340"/>
                  </a:cubicBezTo>
                  <a:cubicBezTo>
                    <a:pt x="1202594" y="162416"/>
                    <a:pt x="1205560" y="205598"/>
                    <a:pt x="1196340" y="321694"/>
                  </a:cubicBezTo>
                  <a:cubicBezTo>
                    <a:pt x="1198139" y="354301"/>
                    <a:pt x="1162208" y="390714"/>
                    <a:pt x="1132000" y="386034"/>
                  </a:cubicBezTo>
                  <a:cubicBezTo>
                    <a:pt x="940989" y="384450"/>
                    <a:pt x="717872" y="379207"/>
                    <a:pt x="598170" y="386034"/>
                  </a:cubicBezTo>
                  <a:cubicBezTo>
                    <a:pt x="478468" y="392862"/>
                    <a:pt x="178364" y="360389"/>
                    <a:pt x="64340" y="386034"/>
                  </a:cubicBezTo>
                  <a:cubicBezTo>
                    <a:pt x="21150" y="385596"/>
                    <a:pt x="2276" y="350987"/>
                    <a:pt x="0" y="321694"/>
                  </a:cubicBezTo>
                  <a:cubicBezTo>
                    <a:pt x="3363" y="261429"/>
                    <a:pt x="10077" y="168251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dev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4171CAC-B2D0-90DE-FECC-1478466DCFD4}"/>
                </a:ext>
              </a:extLst>
            </p:cNvPr>
            <p:cNvSpPr/>
            <p:nvPr/>
          </p:nvSpPr>
          <p:spPr>
            <a:xfrm>
              <a:off x="7899730" y="5308947"/>
              <a:ext cx="1546326" cy="386034"/>
            </a:xfrm>
            <a:custGeom>
              <a:avLst/>
              <a:gdLst>
                <a:gd name="connsiteX0" fmla="*/ 0 w 1546326"/>
                <a:gd name="connsiteY0" fmla="*/ 64340 h 386034"/>
                <a:gd name="connsiteX1" fmla="*/ 64340 w 1546326"/>
                <a:gd name="connsiteY1" fmla="*/ 0 h 386034"/>
                <a:gd name="connsiteX2" fmla="*/ 565242 w 1546326"/>
                <a:gd name="connsiteY2" fmla="*/ 0 h 386034"/>
                <a:gd name="connsiteX3" fmla="*/ 1023614 w 1546326"/>
                <a:gd name="connsiteY3" fmla="*/ 0 h 386034"/>
                <a:gd name="connsiteX4" fmla="*/ 1481986 w 1546326"/>
                <a:gd name="connsiteY4" fmla="*/ 0 h 386034"/>
                <a:gd name="connsiteX5" fmla="*/ 1546326 w 1546326"/>
                <a:gd name="connsiteY5" fmla="*/ 64340 h 386034"/>
                <a:gd name="connsiteX6" fmla="*/ 1546326 w 1546326"/>
                <a:gd name="connsiteY6" fmla="*/ 321694 h 386034"/>
                <a:gd name="connsiteX7" fmla="*/ 1481986 w 1546326"/>
                <a:gd name="connsiteY7" fmla="*/ 386034 h 386034"/>
                <a:gd name="connsiteX8" fmla="*/ 1037790 w 1546326"/>
                <a:gd name="connsiteY8" fmla="*/ 386034 h 386034"/>
                <a:gd name="connsiteX9" fmla="*/ 565242 w 1546326"/>
                <a:gd name="connsiteY9" fmla="*/ 386034 h 386034"/>
                <a:gd name="connsiteX10" fmla="*/ 64340 w 1546326"/>
                <a:gd name="connsiteY10" fmla="*/ 386034 h 386034"/>
                <a:gd name="connsiteX11" fmla="*/ 0 w 1546326"/>
                <a:gd name="connsiteY11" fmla="*/ 321694 h 386034"/>
                <a:gd name="connsiteX12" fmla="*/ 0 w 1546326"/>
                <a:gd name="connsiteY12" fmla="*/ 64340 h 3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326" h="386034" extrusionOk="0">
                  <a:moveTo>
                    <a:pt x="0" y="64340"/>
                  </a:moveTo>
                  <a:cubicBezTo>
                    <a:pt x="-4036" y="26316"/>
                    <a:pt x="23893" y="1844"/>
                    <a:pt x="64340" y="0"/>
                  </a:cubicBezTo>
                  <a:cubicBezTo>
                    <a:pt x="310500" y="24628"/>
                    <a:pt x="427639" y="-3787"/>
                    <a:pt x="565242" y="0"/>
                  </a:cubicBezTo>
                  <a:cubicBezTo>
                    <a:pt x="702845" y="3787"/>
                    <a:pt x="843780" y="18176"/>
                    <a:pt x="1023614" y="0"/>
                  </a:cubicBezTo>
                  <a:cubicBezTo>
                    <a:pt x="1203448" y="-18176"/>
                    <a:pt x="1354143" y="-15980"/>
                    <a:pt x="1481986" y="0"/>
                  </a:cubicBezTo>
                  <a:cubicBezTo>
                    <a:pt x="1515904" y="-5204"/>
                    <a:pt x="1546920" y="26606"/>
                    <a:pt x="1546326" y="64340"/>
                  </a:cubicBezTo>
                  <a:cubicBezTo>
                    <a:pt x="1554989" y="188801"/>
                    <a:pt x="1542785" y="261721"/>
                    <a:pt x="1546326" y="321694"/>
                  </a:cubicBezTo>
                  <a:cubicBezTo>
                    <a:pt x="1545677" y="351043"/>
                    <a:pt x="1515274" y="389155"/>
                    <a:pt x="1481986" y="386034"/>
                  </a:cubicBezTo>
                  <a:cubicBezTo>
                    <a:pt x="1274341" y="382391"/>
                    <a:pt x="1172771" y="404536"/>
                    <a:pt x="1037790" y="386034"/>
                  </a:cubicBezTo>
                  <a:cubicBezTo>
                    <a:pt x="902809" y="367532"/>
                    <a:pt x="680366" y="387399"/>
                    <a:pt x="565242" y="386034"/>
                  </a:cubicBezTo>
                  <a:cubicBezTo>
                    <a:pt x="450118" y="384669"/>
                    <a:pt x="302609" y="374093"/>
                    <a:pt x="64340" y="386034"/>
                  </a:cubicBezTo>
                  <a:cubicBezTo>
                    <a:pt x="31617" y="383256"/>
                    <a:pt x="7380" y="352469"/>
                    <a:pt x="0" y="321694"/>
                  </a:cubicBezTo>
                  <a:cubicBezTo>
                    <a:pt x="5004" y="229282"/>
                    <a:pt x="4162" y="187148"/>
                    <a:pt x="0" y="64340"/>
                  </a:cubicBezTo>
                  <a:close/>
                </a:path>
              </a:pathLst>
            </a:custGeom>
            <a:noFill/>
            <a:ln w="25400">
              <a:solidFill>
                <a:srgbClr val="0070C0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Z# sandbox</a:t>
              </a:r>
            </a:p>
          </p:txBody>
        </p:sp>
      </p:grpSp>
      <p:pic>
        <p:nvPicPr>
          <p:cNvPr id="23" name="Picture 2">
            <a:extLst>
              <a:ext uri="{FF2B5EF4-FFF2-40B4-BE49-F238E27FC236}">
                <a16:creationId xmlns:a16="http://schemas.microsoft.com/office/drawing/2014/main" id="{22C834B1-79D5-4332-AF84-0BE953D7A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552" y="4515637"/>
            <a:ext cx="913743" cy="9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521153-7FDC-0D54-A1FF-E85516DABDA3}"/>
              </a:ext>
            </a:extLst>
          </p:cNvPr>
          <p:cNvSpPr/>
          <p:nvPr/>
        </p:nvSpPr>
        <p:spPr>
          <a:xfrm>
            <a:off x="564242" y="2504751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BCA87-04BA-C41F-6A5B-30224D078CE8}"/>
              </a:ext>
            </a:extLst>
          </p:cNvPr>
          <p:cNvSpPr txBox="1"/>
          <p:nvPr/>
        </p:nvSpPr>
        <p:spPr>
          <a:xfrm>
            <a:off x="658652" y="2740279"/>
            <a:ext cx="231585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elaxed RBAC even in large enterprises non prod environments</a:t>
            </a:r>
          </a:p>
          <a:p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87628A2-3D48-D77D-73EF-ABCFA4344C4E}"/>
              </a:ext>
            </a:extLst>
          </p:cNvPr>
          <p:cNvSpPr/>
          <p:nvPr/>
        </p:nvSpPr>
        <p:spPr>
          <a:xfrm>
            <a:off x="564242" y="4417383"/>
            <a:ext cx="3907982" cy="1833074"/>
          </a:xfrm>
          <a:custGeom>
            <a:avLst/>
            <a:gdLst>
              <a:gd name="connsiteX0" fmla="*/ 0 w 3907982"/>
              <a:gd name="connsiteY0" fmla="*/ 305518 h 1833074"/>
              <a:gd name="connsiteX1" fmla="*/ 305518 w 3907982"/>
              <a:gd name="connsiteY1" fmla="*/ 0 h 1833074"/>
              <a:gd name="connsiteX2" fmla="*/ 920948 w 3907982"/>
              <a:gd name="connsiteY2" fmla="*/ 0 h 1833074"/>
              <a:gd name="connsiteX3" fmla="*/ 1437469 w 3907982"/>
              <a:gd name="connsiteY3" fmla="*/ 0 h 1833074"/>
              <a:gd name="connsiteX4" fmla="*/ 1921022 w 3907982"/>
              <a:gd name="connsiteY4" fmla="*/ 0 h 1833074"/>
              <a:gd name="connsiteX5" fmla="*/ 2503482 w 3907982"/>
              <a:gd name="connsiteY5" fmla="*/ 0 h 1833074"/>
              <a:gd name="connsiteX6" fmla="*/ 3020004 w 3907982"/>
              <a:gd name="connsiteY6" fmla="*/ 0 h 1833074"/>
              <a:gd name="connsiteX7" fmla="*/ 3602464 w 3907982"/>
              <a:gd name="connsiteY7" fmla="*/ 0 h 1833074"/>
              <a:gd name="connsiteX8" fmla="*/ 3907982 w 3907982"/>
              <a:gd name="connsiteY8" fmla="*/ 305518 h 1833074"/>
              <a:gd name="connsiteX9" fmla="*/ 3907982 w 3907982"/>
              <a:gd name="connsiteY9" fmla="*/ 688423 h 1833074"/>
              <a:gd name="connsiteX10" fmla="*/ 3907982 w 3907982"/>
              <a:gd name="connsiteY10" fmla="*/ 1095769 h 1833074"/>
              <a:gd name="connsiteX11" fmla="*/ 3907982 w 3907982"/>
              <a:gd name="connsiteY11" fmla="*/ 1527556 h 1833074"/>
              <a:gd name="connsiteX12" fmla="*/ 3602464 w 3907982"/>
              <a:gd name="connsiteY12" fmla="*/ 1833074 h 1833074"/>
              <a:gd name="connsiteX13" fmla="*/ 3052973 w 3907982"/>
              <a:gd name="connsiteY13" fmla="*/ 1833074 h 1833074"/>
              <a:gd name="connsiteX14" fmla="*/ 2569421 w 3907982"/>
              <a:gd name="connsiteY14" fmla="*/ 1833074 h 1833074"/>
              <a:gd name="connsiteX15" fmla="*/ 2019930 w 3907982"/>
              <a:gd name="connsiteY15" fmla="*/ 1833074 h 1833074"/>
              <a:gd name="connsiteX16" fmla="*/ 1404500 w 3907982"/>
              <a:gd name="connsiteY16" fmla="*/ 1833074 h 1833074"/>
              <a:gd name="connsiteX17" fmla="*/ 855009 w 3907982"/>
              <a:gd name="connsiteY17" fmla="*/ 1833074 h 1833074"/>
              <a:gd name="connsiteX18" fmla="*/ 305518 w 3907982"/>
              <a:gd name="connsiteY18" fmla="*/ 1833074 h 1833074"/>
              <a:gd name="connsiteX19" fmla="*/ 0 w 3907982"/>
              <a:gd name="connsiteY19" fmla="*/ 1527556 h 1833074"/>
              <a:gd name="connsiteX20" fmla="*/ 0 w 3907982"/>
              <a:gd name="connsiteY20" fmla="*/ 1107990 h 1833074"/>
              <a:gd name="connsiteX21" fmla="*/ 0 w 3907982"/>
              <a:gd name="connsiteY21" fmla="*/ 725084 h 1833074"/>
              <a:gd name="connsiteX22" fmla="*/ 0 w 3907982"/>
              <a:gd name="connsiteY22" fmla="*/ 305518 h 1833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833074" extrusionOk="0">
                <a:moveTo>
                  <a:pt x="0" y="305518"/>
                </a:moveTo>
                <a:cubicBezTo>
                  <a:pt x="-39719" y="112285"/>
                  <a:pt x="109445" y="10261"/>
                  <a:pt x="305518" y="0"/>
                </a:cubicBezTo>
                <a:cubicBezTo>
                  <a:pt x="456306" y="-12504"/>
                  <a:pt x="786712" y="45893"/>
                  <a:pt x="920948" y="0"/>
                </a:cubicBezTo>
                <a:cubicBezTo>
                  <a:pt x="1055184" y="-45893"/>
                  <a:pt x="1180144" y="48684"/>
                  <a:pt x="1437469" y="0"/>
                </a:cubicBezTo>
                <a:cubicBezTo>
                  <a:pt x="1694794" y="-48684"/>
                  <a:pt x="1779175" y="49989"/>
                  <a:pt x="1921022" y="0"/>
                </a:cubicBezTo>
                <a:cubicBezTo>
                  <a:pt x="2062869" y="-49989"/>
                  <a:pt x="2337571" y="34674"/>
                  <a:pt x="2503482" y="0"/>
                </a:cubicBezTo>
                <a:cubicBezTo>
                  <a:pt x="2669393" y="-34674"/>
                  <a:pt x="2857955" y="60254"/>
                  <a:pt x="3020004" y="0"/>
                </a:cubicBezTo>
                <a:cubicBezTo>
                  <a:pt x="3182053" y="-60254"/>
                  <a:pt x="3385688" y="51527"/>
                  <a:pt x="3602464" y="0"/>
                </a:cubicBezTo>
                <a:cubicBezTo>
                  <a:pt x="3767553" y="-34750"/>
                  <a:pt x="3894325" y="155764"/>
                  <a:pt x="3907982" y="305518"/>
                </a:cubicBezTo>
                <a:cubicBezTo>
                  <a:pt x="3919606" y="465513"/>
                  <a:pt x="3880063" y="564339"/>
                  <a:pt x="3907982" y="688423"/>
                </a:cubicBezTo>
                <a:cubicBezTo>
                  <a:pt x="3935901" y="812507"/>
                  <a:pt x="3881839" y="1012805"/>
                  <a:pt x="3907982" y="1095769"/>
                </a:cubicBezTo>
                <a:cubicBezTo>
                  <a:pt x="3934125" y="1178733"/>
                  <a:pt x="3899721" y="1376694"/>
                  <a:pt x="3907982" y="1527556"/>
                </a:cubicBezTo>
                <a:cubicBezTo>
                  <a:pt x="3933279" y="1671291"/>
                  <a:pt x="3801987" y="1813220"/>
                  <a:pt x="3602464" y="1833074"/>
                </a:cubicBezTo>
                <a:cubicBezTo>
                  <a:pt x="3438587" y="1838912"/>
                  <a:pt x="3221395" y="1783938"/>
                  <a:pt x="3052973" y="1833074"/>
                </a:cubicBezTo>
                <a:cubicBezTo>
                  <a:pt x="2884551" y="1882210"/>
                  <a:pt x="2685129" y="1810297"/>
                  <a:pt x="2569421" y="1833074"/>
                </a:cubicBezTo>
                <a:cubicBezTo>
                  <a:pt x="2453713" y="1855851"/>
                  <a:pt x="2260058" y="1790275"/>
                  <a:pt x="2019930" y="1833074"/>
                </a:cubicBezTo>
                <a:cubicBezTo>
                  <a:pt x="1779802" y="1875873"/>
                  <a:pt x="1700005" y="1762651"/>
                  <a:pt x="1404500" y="1833074"/>
                </a:cubicBezTo>
                <a:cubicBezTo>
                  <a:pt x="1108995" y="1903497"/>
                  <a:pt x="1014025" y="1802264"/>
                  <a:pt x="855009" y="1833074"/>
                </a:cubicBezTo>
                <a:cubicBezTo>
                  <a:pt x="695993" y="1863884"/>
                  <a:pt x="498871" y="1783663"/>
                  <a:pt x="305518" y="1833074"/>
                </a:cubicBezTo>
                <a:cubicBezTo>
                  <a:pt x="98857" y="1834636"/>
                  <a:pt x="13740" y="1671520"/>
                  <a:pt x="0" y="1527556"/>
                </a:cubicBezTo>
                <a:cubicBezTo>
                  <a:pt x="-21170" y="1347005"/>
                  <a:pt x="13494" y="1243168"/>
                  <a:pt x="0" y="1107990"/>
                </a:cubicBezTo>
                <a:cubicBezTo>
                  <a:pt x="-13494" y="972812"/>
                  <a:pt x="10149" y="870873"/>
                  <a:pt x="0" y="725084"/>
                </a:cubicBezTo>
                <a:cubicBezTo>
                  <a:pt x="-10149" y="579295"/>
                  <a:pt x="42308" y="507439"/>
                  <a:pt x="0" y="305518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482F7-F404-DFE7-B637-FCB83793F8BD}"/>
              </a:ext>
            </a:extLst>
          </p:cNvPr>
          <p:cNvSpPr txBox="1"/>
          <p:nvPr/>
        </p:nvSpPr>
        <p:spPr>
          <a:xfrm>
            <a:off x="2878990" y="5376464"/>
            <a:ext cx="1516762" cy="369332"/>
          </a:xfrm>
          <a:custGeom>
            <a:avLst/>
            <a:gdLst>
              <a:gd name="connsiteX0" fmla="*/ 0 w 1516762"/>
              <a:gd name="connsiteY0" fmla="*/ 0 h 369332"/>
              <a:gd name="connsiteX1" fmla="*/ 490420 w 1516762"/>
              <a:gd name="connsiteY1" fmla="*/ 0 h 369332"/>
              <a:gd name="connsiteX2" fmla="*/ 950504 w 1516762"/>
              <a:gd name="connsiteY2" fmla="*/ 0 h 369332"/>
              <a:gd name="connsiteX3" fmla="*/ 1516762 w 1516762"/>
              <a:gd name="connsiteY3" fmla="*/ 0 h 369332"/>
              <a:gd name="connsiteX4" fmla="*/ 1516762 w 1516762"/>
              <a:gd name="connsiteY4" fmla="*/ 369332 h 369332"/>
              <a:gd name="connsiteX5" fmla="*/ 1041510 w 1516762"/>
              <a:gd name="connsiteY5" fmla="*/ 369332 h 369332"/>
              <a:gd name="connsiteX6" fmla="*/ 505587 w 1516762"/>
              <a:gd name="connsiteY6" fmla="*/ 369332 h 369332"/>
              <a:gd name="connsiteX7" fmla="*/ 0 w 1516762"/>
              <a:gd name="connsiteY7" fmla="*/ 369332 h 369332"/>
              <a:gd name="connsiteX8" fmla="*/ 0 w 151676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6762" h="369332" extrusionOk="0">
                <a:moveTo>
                  <a:pt x="0" y="0"/>
                </a:moveTo>
                <a:cubicBezTo>
                  <a:pt x="209769" y="-41365"/>
                  <a:pt x="341349" y="8781"/>
                  <a:pt x="490420" y="0"/>
                </a:cubicBezTo>
                <a:cubicBezTo>
                  <a:pt x="639491" y="-8781"/>
                  <a:pt x="756427" y="27278"/>
                  <a:pt x="950504" y="0"/>
                </a:cubicBezTo>
                <a:cubicBezTo>
                  <a:pt x="1144581" y="-27278"/>
                  <a:pt x="1344649" y="62508"/>
                  <a:pt x="1516762" y="0"/>
                </a:cubicBezTo>
                <a:cubicBezTo>
                  <a:pt x="1552350" y="113493"/>
                  <a:pt x="1489955" y="197069"/>
                  <a:pt x="1516762" y="369332"/>
                </a:cubicBezTo>
                <a:cubicBezTo>
                  <a:pt x="1357875" y="419827"/>
                  <a:pt x="1249273" y="346156"/>
                  <a:pt x="1041510" y="369332"/>
                </a:cubicBezTo>
                <a:cubicBezTo>
                  <a:pt x="833747" y="392508"/>
                  <a:pt x="685626" y="339860"/>
                  <a:pt x="505587" y="369332"/>
                </a:cubicBezTo>
                <a:cubicBezTo>
                  <a:pt x="325548" y="398804"/>
                  <a:pt x="135452" y="31407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ipelines/API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3C9098-CF9B-E8E3-71FE-866D524E7537}"/>
              </a:ext>
            </a:extLst>
          </p:cNvPr>
          <p:cNvSpPr txBox="1"/>
          <p:nvPr/>
        </p:nvSpPr>
        <p:spPr>
          <a:xfrm>
            <a:off x="653484" y="4570283"/>
            <a:ext cx="2315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or platform, 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prd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, and stg environments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9B71AEC-FD4A-C5B5-0F84-BD1F558E2D7B}"/>
              </a:ext>
            </a:extLst>
          </p:cNvPr>
          <p:cNvSpPr/>
          <p:nvPr/>
        </p:nvSpPr>
        <p:spPr>
          <a:xfrm rot="2001823" flipV="1">
            <a:off x="4516009" y="4265745"/>
            <a:ext cx="1092674" cy="299469"/>
          </a:xfrm>
          <a:custGeom>
            <a:avLst/>
            <a:gdLst>
              <a:gd name="connsiteX0" fmla="*/ 0 w 1092674"/>
              <a:gd name="connsiteY0" fmla="*/ 74867 h 299469"/>
              <a:gd name="connsiteX1" fmla="*/ 480899 w 1092674"/>
              <a:gd name="connsiteY1" fmla="*/ 74867 h 299469"/>
              <a:gd name="connsiteX2" fmla="*/ 942940 w 1092674"/>
              <a:gd name="connsiteY2" fmla="*/ 74867 h 299469"/>
              <a:gd name="connsiteX3" fmla="*/ 942940 w 1092674"/>
              <a:gd name="connsiteY3" fmla="*/ 0 h 299469"/>
              <a:gd name="connsiteX4" fmla="*/ 1092674 w 1092674"/>
              <a:gd name="connsiteY4" fmla="*/ 149735 h 299469"/>
              <a:gd name="connsiteX5" fmla="*/ 942940 w 1092674"/>
              <a:gd name="connsiteY5" fmla="*/ 299469 h 299469"/>
              <a:gd name="connsiteX6" fmla="*/ 942940 w 1092674"/>
              <a:gd name="connsiteY6" fmla="*/ 224602 h 299469"/>
              <a:gd name="connsiteX7" fmla="*/ 471470 w 1092674"/>
              <a:gd name="connsiteY7" fmla="*/ 224602 h 299469"/>
              <a:gd name="connsiteX8" fmla="*/ 0 w 1092674"/>
              <a:gd name="connsiteY8" fmla="*/ 224602 h 299469"/>
              <a:gd name="connsiteX9" fmla="*/ 0 w 1092674"/>
              <a:gd name="connsiteY9" fmla="*/ 74867 h 29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2674" h="299469" fill="none" extrusionOk="0">
                <a:moveTo>
                  <a:pt x="0" y="74867"/>
                </a:moveTo>
                <a:cubicBezTo>
                  <a:pt x="216265" y="59847"/>
                  <a:pt x="322152" y="70174"/>
                  <a:pt x="480899" y="74867"/>
                </a:cubicBezTo>
                <a:cubicBezTo>
                  <a:pt x="639646" y="79560"/>
                  <a:pt x="815220" y="93676"/>
                  <a:pt x="942940" y="74867"/>
                </a:cubicBezTo>
                <a:cubicBezTo>
                  <a:pt x="939933" y="43903"/>
                  <a:pt x="940998" y="18180"/>
                  <a:pt x="942940" y="0"/>
                </a:cubicBezTo>
                <a:cubicBezTo>
                  <a:pt x="991485" y="42430"/>
                  <a:pt x="1018307" y="89626"/>
                  <a:pt x="1092674" y="149735"/>
                </a:cubicBezTo>
                <a:cubicBezTo>
                  <a:pt x="1034273" y="221326"/>
                  <a:pt x="1022141" y="233324"/>
                  <a:pt x="942940" y="299469"/>
                </a:cubicBezTo>
                <a:cubicBezTo>
                  <a:pt x="939895" y="264632"/>
                  <a:pt x="941389" y="257076"/>
                  <a:pt x="942940" y="224602"/>
                </a:cubicBezTo>
                <a:cubicBezTo>
                  <a:pt x="770704" y="233480"/>
                  <a:pt x="630420" y="206377"/>
                  <a:pt x="471470" y="224602"/>
                </a:cubicBezTo>
                <a:cubicBezTo>
                  <a:pt x="312520" y="242828"/>
                  <a:pt x="100606" y="216316"/>
                  <a:pt x="0" y="224602"/>
                </a:cubicBezTo>
                <a:cubicBezTo>
                  <a:pt x="2679" y="160280"/>
                  <a:pt x="-5251" y="117299"/>
                  <a:pt x="0" y="74867"/>
                </a:cubicBezTo>
                <a:close/>
              </a:path>
              <a:path w="1092674" h="299469" stroke="0" extrusionOk="0">
                <a:moveTo>
                  <a:pt x="0" y="74867"/>
                </a:moveTo>
                <a:cubicBezTo>
                  <a:pt x="182740" y="66323"/>
                  <a:pt x="266755" y="70824"/>
                  <a:pt x="462041" y="74867"/>
                </a:cubicBezTo>
                <a:cubicBezTo>
                  <a:pt x="657327" y="78910"/>
                  <a:pt x="776283" y="91304"/>
                  <a:pt x="942940" y="74867"/>
                </a:cubicBezTo>
                <a:cubicBezTo>
                  <a:pt x="943202" y="45997"/>
                  <a:pt x="942659" y="23814"/>
                  <a:pt x="942940" y="0"/>
                </a:cubicBezTo>
                <a:cubicBezTo>
                  <a:pt x="1001946" y="61146"/>
                  <a:pt x="1027275" y="94736"/>
                  <a:pt x="1092674" y="149735"/>
                </a:cubicBezTo>
                <a:cubicBezTo>
                  <a:pt x="1066059" y="190945"/>
                  <a:pt x="998770" y="250841"/>
                  <a:pt x="942940" y="299469"/>
                </a:cubicBezTo>
                <a:cubicBezTo>
                  <a:pt x="941148" y="275136"/>
                  <a:pt x="944278" y="253873"/>
                  <a:pt x="942940" y="224602"/>
                </a:cubicBezTo>
                <a:cubicBezTo>
                  <a:pt x="818727" y="229173"/>
                  <a:pt x="597068" y="240046"/>
                  <a:pt x="490329" y="224602"/>
                </a:cubicBezTo>
                <a:cubicBezTo>
                  <a:pt x="383590" y="209158"/>
                  <a:pt x="166327" y="217763"/>
                  <a:pt x="0" y="224602"/>
                </a:cubicBezTo>
                <a:cubicBezTo>
                  <a:pt x="-5217" y="188683"/>
                  <a:pt x="-3688" y="113779"/>
                  <a:pt x="0" y="74867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2C7CC4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5DA7973-71C2-F666-C2C9-AF04021A2428}"/>
              </a:ext>
            </a:extLst>
          </p:cNvPr>
          <p:cNvSpPr/>
          <p:nvPr/>
        </p:nvSpPr>
        <p:spPr>
          <a:xfrm rot="20591741" flipV="1">
            <a:off x="4557014" y="5211065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FEC3E27B-2463-93F4-1768-261453C1B051}"/>
              </a:ext>
            </a:extLst>
          </p:cNvPr>
          <p:cNvSpPr/>
          <p:nvPr/>
        </p:nvSpPr>
        <p:spPr>
          <a:xfrm rot="908097" flipV="1">
            <a:off x="7769112" y="5319975"/>
            <a:ext cx="706280" cy="256533"/>
          </a:xfrm>
          <a:custGeom>
            <a:avLst/>
            <a:gdLst>
              <a:gd name="connsiteX0" fmla="*/ 0 w 706280"/>
              <a:gd name="connsiteY0" fmla="*/ 64133 h 256533"/>
              <a:gd name="connsiteX1" fmla="*/ 578014 w 706280"/>
              <a:gd name="connsiteY1" fmla="*/ 64133 h 256533"/>
              <a:gd name="connsiteX2" fmla="*/ 578014 w 706280"/>
              <a:gd name="connsiteY2" fmla="*/ 0 h 256533"/>
              <a:gd name="connsiteX3" fmla="*/ 706280 w 706280"/>
              <a:gd name="connsiteY3" fmla="*/ 128267 h 256533"/>
              <a:gd name="connsiteX4" fmla="*/ 578014 w 706280"/>
              <a:gd name="connsiteY4" fmla="*/ 256533 h 256533"/>
              <a:gd name="connsiteX5" fmla="*/ 578014 w 706280"/>
              <a:gd name="connsiteY5" fmla="*/ 192400 h 256533"/>
              <a:gd name="connsiteX6" fmla="*/ 0 w 706280"/>
              <a:gd name="connsiteY6" fmla="*/ 192400 h 256533"/>
              <a:gd name="connsiteX7" fmla="*/ 0 w 706280"/>
              <a:gd name="connsiteY7" fmla="*/ 64133 h 25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280" h="256533" fill="none" extrusionOk="0">
                <a:moveTo>
                  <a:pt x="0" y="64133"/>
                </a:moveTo>
                <a:cubicBezTo>
                  <a:pt x="119703" y="36933"/>
                  <a:pt x="438341" y="41747"/>
                  <a:pt x="578014" y="64133"/>
                </a:cubicBezTo>
                <a:cubicBezTo>
                  <a:pt x="580928" y="46695"/>
                  <a:pt x="578944" y="24063"/>
                  <a:pt x="578014" y="0"/>
                </a:cubicBezTo>
                <a:cubicBezTo>
                  <a:pt x="629791" y="46744"/>
                  <a:pt x="646733" y="70085"/>
                  <a:pt x="706280" y="128267"/>
                </a:cubicBezTo>
                <a:cubicBezTo>
                  <a:pt x="658026" y="168319"/>
                  <a:pt x="630765" y="212715"/>
                  <a:pt x="578014" y="256533"/>
                </a:cubicBezTo>
                <a:cubicBezTo>
                  <a:pt x="581017" y="227742"/>
                  <a:pt x="579972" y="205413"/>
                  <a:pt x="578014" y="192400"/>
                </a:cubicBezTo>
                <a:cubicBezTo>
                  <a:pt x="401428" y="209641"/>
                  <a:pt x="232629" y="168467"/>
                  <a:pt x="0" y="192400"/>
                </a:cubicBezTo>
                <a:cubicBezTo>
                  <a:pt x="-1038" y="146386"/>
                  <a:pt x="-4173" y="125670"/>
                  <a:pt x="0" y="64133"/>
                </a:cubicBezTo>
                <a:close/>
              </a:path>
              <a:path w="706280" h="256533" stroke="0" extrusionOk="0">
                <a:moveTo>
                  <a:pt x="0" y="64133"/>
                </a:moveTo>
                <a:cubicBezTo>
                  <a:pt x="213834" y="55600"/>
                  <a:pt x="417693" y="67746"/>
                  <a:pt x="578014" y="64133"/>
                </a:cubicBezTo>
                <a:cubicBezTo>
                  <a:pt x="574814" y="46165"/>
                  <a:pt x="576590" y="13763"/>
                  <a:pt x="578014" y="0"/>
                </a:cubicBezTo>
                <a:cubicBezTo>
                  <a:pt x="640166" y="55615"/>
                  <a:pt x="660590" y="78952"/>
                  <a:pt x="706280" y="128267"/>
                </a:cubicBezTo>
                <a:cubicBezTo>
                  <a:pt x="654356" y="176033"/>
                  <a:pt x="637501" y="191565"/>
                  <a:pt x="578014" y="256533"/>
                </a:cubicBezTo>
                <a:cubicBezTo>
                  <a:pt x="577990" y="241963"/>
                  <a:pt x="579615" y="207033"/>
                  <a:pt x="578014" y="192400"/>
                </a:cubicBezTo>
                <a:cubicBezTo>
                  <a:pt x="330043" y="177818"/>
                  <a:pt x="125278" y="199023"/>
                  <a:pt x="0" y="192400"/>
                </a:cubicBezTo>
                <a:cubicBezTo>
                  <a:pt x="3676" y="156556"/>
                  <a:pt x="-2090" y="104521"/>
                  <a:pt x="0" y="64133"/>
                </a:cubicBezTo>
                <a:close/>
              </a:path>
            </a:pathLst>
          </a:custGeom>
          <a:solidFill>
            <a:srgbClr val="0070C0"/>
          </a:solidFill>
          <a:ln w="25400">
            <a:solidFill>
              <a:srgbClr val="0070C0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0FDE197-9BBA-4949-EAA3-67CC5AEF7914}"/>
              </a:ext>
            </a:extLst>
          </p:cNvPr>
          <p:cNvSpPr/>
          <p:nvPr/>
        </p:nvSpPr>
        <p:spPr>
          <a:xfrm rot="20782950" flipV="1">
            <a:off x="7758716" y="4520037"/>
            <a:ext cx="954100" cy="322160"/>
          </a:xfrm>
          <a:custGeom>
            <a:avLst/>
            <a:gdLst>
              <a:gd name="connsiteX0" fmla="*/ 0 w 954100"/>
              <a:gd name="connsiteY0" fmla="*/ 80540 h 322160"/>
              <a:gd name="connsiteX1" fmla="*/ 404440 w 954100"/>
              <a:gd name="connsiteY1" fmla="*/ 80540 h 322160"/>
              <a:gd name="connsiteX2" fmla="*/ 793020 w 954100"/>
              <a:gd name="connsiteY2" fmla="*/ 80540 h 322160"/>
              <a:gd name="connsiteX3" fmla="*/ 793020 w 954100"/>
              <a:gd name="connsiteY3" fmla="*/ 0 h 322160"/>
              <a:gd name="connsiteX4" fmla="*/ 954100 w 954100"/>
              <a:gd name="connsiteY4" fmla="*/ 161080 h 322160"/>
              <a:gd name="connsiteX5" fmla="*/ 793020 w 954100"/>
              <a:gd name="connsiteY5" fmla="*/ 322160 h 322160"/>
              <a:gd name="connsiteX6" fmla="*/ 793020 w 954100"/>
              <a:gd name="connsiteY6" fmla="*/ 241620 h 322160"/>
              <a:gd name="connsiteX7" fmla="*/ 396510 w 954100"/>
              <a:gd name="connsiteY7" fmla="*/ 241620 h 322160"/>
              <a:gd name="connsiteX8" fmla="*/ 0 w 954100"/>
              <a:gd name="connsiteY8" fmla="*/ 241620 h 322160"/>
              <a:gd name="connsiteX9" fmla="*/ 0 w 954100"/>
              <a:gd name="connsiteY9" fmla="*/ 80540 h 32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4100" h="322160" fill="none" extrusionOk="0">
                <a:moveTo>
                  <a:pt x="0" y="80540"/>
                </a:moveTo>
                <a:cubicBezTo>
                  <a:pt x="111190" y="61619"/>
                  <a:pt x="223998" y="65817"/>
                  <a:pt x="404440" y="80540"/>
                </a:cubicBezTo>
                <a:cubicBezTo>
                  <a:pt x="584882" y="95263"/>
                  <a:pt x="655376" y="82000"/>
                  <a:pt x="793020" y="80540"/>
                </a:cubicBezTo>
                <a:cubicBezTo>
                  <a:pt x="791208" y="41859"/>
                  <a:pt x="792478" y="25389"/>
                  <a:pt x="793020" y="0"/>
                </a:cubicBezTo>
                <a:cubicBezTo>
                  <a:pt x="848302" y="63832"/>
                  <a:pt x="882892" y="91780"/>
                  <a:pt x="954100" y="161080"/>
                </a:cubicBezTo>
                <a:cubicBezTo>
                  <a:pt x="882102" y="244510"/>
                  <a:pt x="850829" y="269029"/>
                  <a:pt x="793020" y="322160"/>
                </a:cubicBezTo>
                <a:cubicBezTo>
                  <a:pt x="789506" y="305656"/>
                  <a:pt x="792171" y="279114"/>
                  <a:pt x="793020" y="241620"/>
                </a:cubicBezTo>
                <a:cubicBezTo>
                  <a:pt x="663766" y="234384"/>
                  <a:pt x="560864" y="249679"/>
                  <a:pt x="396510" y="241620"/>
                </a:cubicBezTo>
                <a:cubicBezTo>
                  <a:pt x="232156" y="233562"/>
                  <a:pt x="190076" y="241141"/>
                  <a:pt x="0" y="241620"/>
                </a:cubicBezTo>
                <a:cubicBezTo>
                  <a:pt x="-7055" y="201858"/>
                  <a:pt x="170" y="155846"/>
                  <a:pt x="0" y="80540"/>
                </a:cubicBezTo>
                <a:close/>
              </a:path>
              <a:path w="954100" h="322160" stroke="0" extrusionOk="0">
                <a:moveTo>
                  <a:pt x="0" y="80540"/>
                </a:moveTo>
                <a:cubicBezTo>
                  <a:pt x="124136" y="72534"/>
                  <a:pt x="246152" y="71220"/>
                  <a:pt x="388580" y="80540"/>
                </a:cubicBezTo>
                <a:cubicBezTo>
                  <a:pt x="531008" y="89860"/>
                  <a:pt x="689803" y="62191"/>
                  <a:pt x="793020" y="80540"/>
                </a:cubicBezTo>
                <a:cubicBezTo>
                  <a:pt x="795118" y="50919"/>
                  <a:pt x="790116" y="22682"/>
                  <a:pt x="793020" y="0"/>
                </a:cubicBezTo>
                <a:cubicBezTo>
                  <a:pt x="829128" y="29365"/>
                  <a:pt x="879448" y="79833"/>
                  <a:pt x="954100" y="161080"/>
                </a:cubicBezTo>
                <a:cubicBezTo>
                  <a:pt x="905501" y="194212"/>
                  <a:pt x="852081" y="262764"/>
                  <a:pt x="793020" y="322160"/>
                </a:cubicBezTo>
                <a:cubicBezTo>
                  <a:pt x="793312" y="298709"/>
                  <a:pt x="794178" y="265249"/>
                  <a:pt x="793020" y="241620"/>
                </a:cubicBezTo>
                <a:cubicBezTo>
                  <a:pt x="675043" y="248733"/>
                  <a:pt x="521610" y="229361"/>
                  <a:pt x="412370" y="241620"/>
                </a:cubicBezTo>
                <a:cubicBezTo>
                  <a:pt x="303130" y="253880"/>
                  <a:pt x="136692" y="229047"/>
                  <a:pt x="0" y="241620"/>
                </a:cubicBezTo>
                <a:cubicBezTo>
                  <a:pt x="6760" y="191250"/>
                  <a:pt x="-5116" y="118181"/>
                  <a:pt x="0" y="80540"/>
                </a:cubicBezTo>
                <a:close/>
              </a:path>
            </a:pathLst>
          </a:custGeom>
          <a:solidFill>
            <a:schemeClr val="tx1"/>
          </a:solidFill>
          <a:ln w="25400">
            <a:solidFill>
              <a:schemeClr val="tx1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7254F6E-660C-EA47-93CA-AD4E22D18D81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26" name="Rectángulo redondeado 14">
              <a:extLst>
                <a:ext uri="{FF2B5EF4-FFF2-40B4-BE49-F238E27FC236}">
                  <a16:creationId xmlns:a16="http://schemas.microsoft.com/office/drawing/2014/main" id="{C7F92985-B2C6-4B3B-E12E-5DAEA3672EE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Rectángulo 12">
              <a:extLst>
                <a:ext uri="{FF2B5EF4-FFF2-40B4-BE49-F238E27FC236}">
                  <a16:creationId xmlns:a16="http://schemas.microsoft.com/office/drawing/2014/main" id="{EABDD0FD-4C15-6386-896C-424B769ADF6A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Azure Template Spec for non-pr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94347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50BD54-6EF0-41DB-8B78-7B3979203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038078" y="2082799"/>
            <a:ext cx="6536336" cy="2580721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742954" y="6035777"/>
            <a:ext cx="9471748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186516" y="26058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2216839" y="2838549"/>
            <a:ext cx="3411032" cy="92333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Questions</a:t>
            </a:r>
            <a:endParaRPr lang="en-US" sz="54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2C83EC-88F0-42DB-9670-6156FBFAFE95}"/>
              </a:ext>
            </a:extLst>
          </p:cNvPr>
          <p:cNvCxnSpPr/>
          <p:nvPr/>
        </p:nvCxnSpPr>
        <p:spPr>
          <a:xfrm>
            <a:off x="1587500" y="2082800"/>
            <a:ext cx="9080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555B807A-A283-199B-9E9E-83DA39A7D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269" y="1899973"/>
            <a:ext cx="2742955" cy="316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toy figure with a black mask and a black helmet&#10;&#10;Description automatically generated with medium confidence">
            <a:extLst>
              <a:ext uri="{FF2B5EF4-FFF2-40B4-BE49-F238E27FC236}">
                <a16:creationId xmlns:a16="http://schemas.microsoft.com/office/drawing/2014/main" id="{9FBB808E-D773-4B35-38D2-FA49BA55E5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253" y="693299"/>
            <a:ext cx="2127942" cy="5019888"/>
          </a:xfrm>
          <a:prstGeom prst="rect">
            <a:avLst/>
          </a:prstGeom>
        </p:spPr>
      </p:pic>
      <p:pic>
        <p:nvPicPr>
          <p:cNvPr id="10" name="Picture 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55C09304-8051-580C-D438-EA435B1E69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671" y="345440"/>
            <a:ext cx="2330185" cy="5478793"/>
          </a:xfrm>
          <a:prstGeom prst="rect">
            <a:avLst/>
          </a:prstGeom>
        </p:spPr>
      </p:pic>
      <p:pic>
        <p:nvPicPr>
          <p:cNvPr id="17" name="Picture 16" descr="A white robot with a black background&#10;&#10;Description automatically generated">
            <a:extLst>
              <a:ext uri="{FF2B5EF4-FFF2-40B4-BE49-F238E27FC236}">
                <a16:creationId xmlns:a16="http://schemas.microsoft.com/office/drawing/2014/main" id="{745CC2B0-50A3-05B8-BD25-52813BC4630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224" y="2399929"/>
            <a:ext cx="3826722" cy="3826722"/>
          </a:xfrm>
          <a:prstGeom prst="rect">
            <a:avLst/>
          </a:prstGeom>
        </p:spPr>
      </p:pic>
      <p:pic>
        <p:nvPicPr>
          <p:cNvPr id="22" name="Picture 21" descr="A logo on a black background&#10;&#10;Description automatically generated">
            <a:extLst>
              <a:ext uri="{FF2B5EF4-FFF2-40B4-BE49-F238E27FC236}">
                <a16:creationId xmlns:a16="http://schemas.microsoft.com/office/drawing/2014/main" id="{4CDF2C6D-3CC7-59E6-6659-3A6B6FF6903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1120625" y="271278"/>
            <a:ext cx="5069888" cy="14904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CB3476-0616-6DCE-9513-A3C9D27654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3566" y="423372"/>
            <a:ext cx="878993" cy="8789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17D3D-6C95-15BC-5C0A-6D411E994C4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99" y="4619743"/>
            <a:ext cx="3012837" cy="301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D72A03-11B9-4E6C-BCD0-ABF1CEA1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/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orgi Ivanov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341412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535055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262352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 Engineer trying to adopt to the ever-changing IT landscape.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724468"/>
            <a:ext cx="1493671" cy="192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logy Lead Automation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86060"/>
            <a:ext cx="1493671" cy="196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iner</a:t>
            </a:r>
          </a:p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aker at PowerShell UG BG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711478"/>
            <a:ext cx="1493671" cy="19408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.com/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gb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>
              <a:lnSpc>
                <a:spcPct val="100000"/>
              </a:lnSpc>
              <a:spcAft>
                <a:spcPts val="1200"/>
              </a:spcAft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9D202E82-51B0-3F55-FD00-5FE0B31BFD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71" b="30937"/>
          <a:stretch/>
        </p:blipFill>
        <p:spPr>
          <a:xfrm>
            <a:off x="102834" y="5816619"/>
            <a:ext cx="1760162" cy="658164"/>
          </a:xfrm>
          <a:prstGeom prst="rect">
            <a:avLst/>
          </a:prstGeom>
        </p:spPr>
      </p:pic>
      <p:pic>
        <p:nvPicPr>
          <p:cNvPr id="8" name="Picture 7" descr="A person in a white shirt&#10;&#10;Description automatically generated">
            <a:extLst>
              <a:ext uri="{FF2B5EF4-FFF2-40B4-BE49-F238E27FC236}">
                <a16:creationId xmlns:a16="http://schemas.microsoft.com/office/drawing/2014/main" id="{0F823281-021E-667E-724C-4AECAEF823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081" b="89977" l="10000" r="90000">
                        <a14:foregroundMark x1="51085" y1="8081" x2="51085" y2="8081"/>
                        <a14:foregroundMark x1="29070" y1="74281" x2="29070" y2="74281"/>
                        <a14:foregroundMark x1="28605" y1="83838" x2="28605" y2="83838"/>
                        <a14:foregroundMark x1="33488" y1="78710" x2="33488" y2="78710"/>
                        <a14:foregroundMark x1="19767" y1="89510" x2="19767" y2="89510"/>
                        <a14:foregroundMark x1="10930" y1="86791" x2="10930" y2="86791"/>
                        <a14:foregroundMark x1="32248" y1="75524" x2="32248" y2="75524"/>
                        <a14:foregroundMark x1="72171" y1="82129" x2="72171" y2="821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79" y="1566393"/>
            <a:ext cx="3931920" cy="3922776"/>
          </a:xfrm>
          <a:prstGeom prst="rect">
            <a:avLst/>
          </a:prstGeom>
        </p:spPr>
      </p:pic>
      <p:pic>
        <p:nvPicPr>
          <p:cNvPr id="2052" name="Picture 4" descr="Logo KPMG Switzerland Organization Brand, declining call ...">
            <a:extLst>
              <a:ext uri="{FF2B5EF4-FFF2-40B4-BE49-F238E27FC236}">
                <a16:creationId xmlns:a16="http://schemas.microsoft.com/office/drawing/2014/main" id="{06CE043A-9EF7-2462-F398-7DF8F929B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913" y="2860913"/>
            <a:ext cx="997789" cy="42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439A5F0-5BCE-5E40-A9F0-E5065D30718D}"/>
              </a:ext>
            </a:extLst>
          </p:cNvPr>
          <p:cNvSpPr/>
          <p:nvPr/>
        </p:nvSpPr>
        <p:spPr>
          <a:xfrm>
            <a:off x="8250377" y="2427607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9D0B1D-A7E1-9D7D-6DA7-EBB10E1AF35D}"/>
              </a:ext>
            </a:extLst>
          </p:cNvPr>
          <p:cNvSpPr/>
          <p:nvPr/>
        </p:nvSpPr>
        <p:spPr>
          <a:xfrm>
            <a:off x="8444020" y="2633253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4" name="Picture 6" descr="99,600+ Graduation Cap Stock Photos, Pictures &amp; Royalty-Free ...">
            <a:extLst>
              <a:ext uri="{FF2B5EF4-FFF2-40B4-BE49-F238E27FC236}">
                <a16:creationId xmlns:a16="http://schemas.microsoft.com/office/drawing/2014/main" id="{C87D818B-4927-94A2-9FDE-C19502CE6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foregroundMark x1="34967" y1="53431" x2="34967" y2="5343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804" y="2589027"/>
            <a:ext cx="971711" cy="97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B7128F9C-A68A-1DDC-5A06-9678202FBF1D}"/>
              </a:ext>
            </a:extLst>
          </p:cNvPr>
          <p:cNvSpPr/>
          <p:nvPr/>
        </p:nvSpPr>
        <p:spPr>
          <a:xfrm>
            <a:off x="10138446" y="2371255"/>
            <a:ext cx="1230377" cy="12584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25D8A7E-3B2B-8746-3559-5360CFAA6CEF}"/>
              </a:ext>
            </a:extLst>
          </p:cNvPr>
          <p:cNvSpPr/>
          <p:nvPr/>
        </p:nvSpPr>
        <p:spPr>
          <a:xfrm>
            <a:off x="10332089" y="2576901"/>
            <a:ext cx="812569" cy="817538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311DB92-1F11-3210-AF6C-709877910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261" y="2657715"/>
            <a:ext cx="696223" cy="696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Printable Country Flag of Bulgaria - Circle | Vector Country Flags of the  World">
            <a:extLst>
              <a:ext uri="{FF2B5EF4-FFF2-40B4-BE49-F238E27FC236}">
                <a16:creationId xmlns:a16="http://schemas.microsoft.com/office/drawing/2014/main" id="{66390B4E-3626-9565-CE16-ED0B0A7A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038" y="4779327"/>
            <a:ext cx="1001423" cy="1001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AB5B630-0EB5-285F-091A-B88A9274DE54}"/>
              </a:ext>
            </a:extLst>
          </p:cNvPr>
          <p:cNvSpPr/>
          <p:nvPr/>
        </p:nvSpPr>
        <p:spPr>
          <a:xfrm>
            <a:off x="4026038" y="4779327"/>
            <a:ext cx="998623" cy="1001423"/>
          </a:xfrm>
          <a:prstGeom prst="ellipse">
            <a:avLst/>
          </a:prstGeom>
          <a:noFill/>
          <a:ln w="25400">
            <a:solidFill>
              <a:srgbClr val="FFD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91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8278655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C55D861-7F4B-70B4-1C51-F32D3DFB8F7F}"/>
              </a:ext>
            </a:extLst>
          </p:cNvPr>
          <p:cNvGrpSpPr/>
          <p:nvPr/>
        </p:nvGrpSpPr>
        <p:grpSpPr>
          <a:xfrm>
            <a:off x="9506124" y="2487092"/>
            <a:ext cx="663402" cy="64552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" name="Freeform 231">
              <a:extLst>
                <a:ext uri="{FF2B5EF4-FFF2-40B4-BE49-F238E27FC236}">
                  <a16:creationId xmlns:a16="http://schemas.microsoft.com/office/drawing/2014/main" id="{85A83BC8-E841-AB73-5397-C71D8B20C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232">
              <a:extLst>
                <a:ext uri="{FF2B5EF4-FFF2-40B4-BE49-F238E27FC236}">
                  <a16:creationId xmlns:a16="http://schemas.microsoft.com/office/drawing/2014/main" id="{F358C8B6-BE0E-A206-EC7A-6291C561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233">
              <a:extLst>
                <a:ext uri="{FF2B5EF4-FFF2-40B4-BE49-F238E27FC236}">
                  <a16:creationId xmlns:a16="http://schemas.microsoft.com/office/drawing/2014/main" id="{5A1D3B53-84C9-538E-B8C0-372214414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Oval 234">
              <a:extLst>
                <a:ext uri="{FF2B5EF4-FFF2-40B4-BE49-F238E27FC236}">
                  <a16:creationId xmlns:a16="http://schemas.microsoft.com/office/drawing/2014/main" id="{690020CC-4A78-22F4-4301-70BD51944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235">
              <a:extLst>
                <a:ext uri="{FF2B5EF4-FFF2-40B4-BE49-F238E27FC236}">
                  <a16:creationId xmlns:a16="http://schemas.microsoft.com/office/drawing/2014/main" id="{0F0A0849-E8AD-1E41-699D-77267D6C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ex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N slides and ~ N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d on stories in Azure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748050A8-9BEB-1E15-38CE-4F3FF48427EC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ángulo 12">
            <a:extLst>
              <a:ext uri="{FF2B5EF4-FFF2-40B4-BE49-F238E27FC236}">
                <a16:creationId xmlns:a16="http://schemas.microsoft.com/office/drawing/2014/main" id="{33B524A9-826B-81FC-C3FE-DF5FCD583FC4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Expectation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D46833-FE29-71DF-788C-F2E6320EB783}"/>
              </a:ext>
            </a:extLst>
          </p:cNvPr>
          <p:cNvSpPr/>
          <p:nvPr/>
        </p:nvSpPr>
        <p:spPr>
          <a:xfrm>
            <a:off x="455973" y="521423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6" name="Picture 4" descr="Handshake - Free business and finance icons">
            <a:extLst>
              <a:ext uri="{FF2B5EF4-FFF2-40B4-BE49-F238E27FC236}">
                <a16:creationId xmlns:a16="http://schemas.microsoft.com/office/drawing/2014/main" id="{57A08C1F-E161-9544-5B29-B8B28A03D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65" y="589731"/>
            <a:ext cx="560249" cy="56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22" y="6723243"/>
            <a:ext cx="11063515" cy="1325563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nfrastructure As Code (</a:t>
            </a:r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akes proven coding practices to continuously deliver infrastructure, and software running on it rapidly and at scale. 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To Whom?</a:t>
            </a:r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335944" y="4896951"/>
            <a:ext cx="1427250" cy="369332"/>
          </a:xfrm>
          <a:custGeom>
            <a:avLst/>
            <a:gdLst>
              <a:gd name="connsiteX0" fmla="*/ 0 w 1427250"/>
              <a:gd name="connsiteY0" fmla="*/ 0 h 369332"/>
              <a:gd name="connsiteX1" fmla="*/ 461477 w 1427250"/>
              <a:gd name="connsiteY1" fmla="*/ 0 h 369332"/>
              <a:gd name="connsiteX2" fmla="*/ 894410 w 1427250"/>
              <a:gd name="connsiteY2" fmla="*/ 0 h 369332"/>
              <a:gd name="connsiteX3" fmla="*/ 1427250 w 1427250"/>
              <a:gd name="connsiteY3" fmla="*/ 0 h 369332"/>
              <a:gd name="connsiteX4" fmla="*/ 1427250 w 1427250"/>
              <a:gd name="connsiteY4" fmla="*/ 369332 h 369332"/>
              <a:gd name="connsiteX5" fmla="*/ 980045 w 1427250"/>
              <a:gd name="connsiteY5" fmla="*/ 369332 h 369332"/>
              <a:gd name="connsiteX6" fmla="*/ 475750 w 1427250"/>
              <a:gd name="connsiteY6" fmla="*/ 369332 h 369332"/>
              <a:gd name="connsiteX7" fmla="*/ 0 w 1427250"/>
              <a:gd name="connsiteY7" fmla="*/ 369332 h 369332"/>
              <a:gd name="connsiteX8" fmla="*/ 0 w 1427250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7250" h="369332" extrusionOk="0">
                <a:moveTo>
                  <a:pt x="0" y="0"/>
                </a:moveTo>
                <a:cubicBezTo>
                  <a:pt x="182711" y="-35384"/>
                  <a:pt x="303666" y="16383"/>
                  <a:pt x="461477" y="0"/>
                </a:cubicBezTo>
                <a:cubicBezTo>
                  <a:pt x="619288" y="-16383"/>
                  <a:pt x="756587" y="28262"/>
                  <a:pt x="894410" y="0"/>
                </a:cubicBezTo>
                <a:cubicBezTo>
                  <a:pt x="1032233" y="-28262"/>
                  <a:pt x="1283755" y="23645"/>
                  <a:pt x="1427250" y="0"/>
                </a:cubicBezTo>
                <a:cubicBezTo>
                  <a:pt x="1462838" y="113493"/>
                  <a:pt x="1400443" y="197069"/>
                  <a:pt x="1427250" y="369332"/>
                </a:cubicBezTo>
                <a:cubicBezTo>
                  <a:pt x="1227455" y="420406"/>
                  <a:pt x="1074207" y="358393"/>
                  <a:pt x="980045" y="369332"/>
                </a:cubicBezTo>
                <a:cubicBezTo>
                  <a:pt x="885884" y="380271"/>
                  <a:pt x="643120" y="363842"/>
                  <a:pt x="475750" y="369332"/>
                </a:cubicBezTo>
                <a:cubicBezTo>
                  <a:pt x="308381" y="374822"/>
                  <a:pt x="211130" y="34427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eloper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878174" y="5380153"/>
            <a:ext cx="1750607" cy="369332"/>
          </a:xfrm>
          <a:custGeom>
            <a:avLst/>
            <a:gdLst>
              <a:gd name="connsiteX0" fmla="*/ 0 w 1750607"/>
              <a:gd name="connsiteY0" fmla="*/ 0 h 369332"/>
              <a:gd name="connsiteX1" fmla="*/ 566030 w 1750607"/>
              <a:gd name="connsiteY1" fmla="*/ 0 h 369332"/>
              <a:gd name="connsiteX2" fmla="*/ 1097047 w 1750607"/>
              <a:gd name="connsiteY2" fmla="*/ 0 h 369332"/>
              <a:gd name="connsiteX3" fmla="*/ 1750607 w 1750607"/>
              <a:gd name="connsiteY3" fmla="*/ 0 h 369332"/>
              <a:gd name="connsiteX4" fmla="*/ 1750607 w 1750607"/>
              <a:gd name="connsiteY4" fmla="*/ 369332 h 369332"/>
              <a:gd name="connsiteX5" fmla="*/ 1202083 w 1750607"/>
              <a:gd name="connsiteY5" fmla="*/ 369332 h 369332"/>
              <a:gd name="connsiteX6" fmla="*/ 583536 w 1750607"/>
              <a:gd name="connsiteY6" fmla="*/ 369332 h 369332"/>
              <a:gd name="connsiteX7" fmla="*/ 0 w 1750607"/>
              <a:gd name="connsiteY7" fmla="*/ 369332 h 369332"/>
              <a:gd name="connsiteX8" fmla="*/ 0 w 175060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0607" h="369332" extrusionOk="0">
                <a:moveTo>
                  <a:pt x="0" y="0"/>
                </a:moveTo>
                <a:cubicBezTo>
                  <a:pt x="267781" y="-31356"/>
                  <a:pt x="339727" y="57124"/>
                  <a:pt x="566030" y="0"/>
                </a:cubicBezTo>
                <a:cubicBezTo>
                  <a:pt x="792333" y="-57124"/>
                  <a:pt x="916920" y="21415"/>
                  <a:pt x="1097047" y="0"/>
                </a:cubicBezTo>
                <a:cubicBezTo>
                  <a:pt x="1277174" y="-21415"/>
                  <a:pt x="1428544" y="3787"/>
                  <a:pt x="1750607" y="0"/>
                </a:cubicBezTo>
                <a:cubicBezTo>
                  <a:pt x="1786195" y="113493"/>
                  <a:pt x="1723800" y="197069"/>
                  <a:pt x="1750607" y="369332"/>
                </a:cubicBezTo>
                <a:cubicBezTo>
                  <a:pt x="1636280" y="420108"/>
                  <a:pt x="1411532" y="357153"/>
                  <a:pt x="1202083" y="369332"/>
                </a:cubicBezTo>
                <a:cubicBezTo>
                  <a:pt x="992634" y="381511"/>
                  <a:pt x="842273" y="355997"/>
                  <a:pt x="583536" y="369332"/>
                </a:cubicBezTo>
                <a:cubicBezTo>
                  <a:pt x="324799" y="382667"/>
                  <a:pt x="126639" y="369115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729017" cy="369332"/>
          </a:xfrm>
          <a:custGeom>
            <a:avLst/>
            <a:gdLst>
              <a:gd name="connsiteX0" fmla="*/ 0 w 2729017"/>
              <a:gd name="connsiteY0" fmla="*/ 0 h 369332"/>
              <a:gd name="connsiteX1" fmla="*/ 518513 w 2729017"/>
              <a:gd name="connsiteY1" fmla="*/ 0 h 369332"/>
              <a:gd name="connsiteX2" fmla="*/ 982446 w 2729017"/>
              <a:gd name="connsiteY2" fmla="*/ 0 h 369332"/>
              <a:gd name="connsiteX3" fmla="*/ 1582830 w 2729017"/>
              <a:gd name="connsiteY3" fmla="*/ 0 h 369332"/>
              <a:gd name="connsiteX4" fmla="*/ 2101343 w 2729017"/>
              <a:gd name="connsiteY4" fmla="*/ 0 h 369332"/>
              <a:gd name="connsiteX5" fmla="*/ 2729017 w 2729017"/>
              <a:gd name="connsiteY5" fmla="*/ 0 h 369332"/>
              <a:gd name="connsiteX6" fmla="*/ 2729017 w 2729017"/>
              <a:gd name="connsiteY6" fmla="*/ 369332 h 369332"/>
              <a:gd name="connsiteX7" fmla="*/ 2183214 w 2729017"/>
              <a:gd name="connsiteY7" fmla="*/ 369332 h 369332"/>
              <a:gd name="connsiteX8" fmla="*/ 1582830 w 2729017"/>
              <a:gd name="connsiteY8" fmla="*/ 369332 h 369332"/>
              <a:gd name="connsiteX9" fmla="*/ 1118897 w 2729017"/>
              <a:gd name="connsiteY9" fmla="*/ 369332 h 369332"/>
              <a:gd name="connsiteX10" fmla="*/ 573094 w 2729017"/>
              <a:gd name="connsiteY10" fmla="*/ 369332 h 369332"/>
              <a:gd name="connsiteX11" fmla="*/ 0 w 2729017"/>
              <a:gd name="connsiteY11" fmla="*/ 369332 h 369332"/>
              <a:gd name="connsiteX12" fmla="*/ 0 w 2729017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29017" h="369332" extrusionOk="0">
                <a:moveTo>
                  <a:pt x="0" y="0"/>
                </a:moveTo>
                <a:cubicBezTo>
                  <a:pt x="146495" y="-12851"/>
                  <a:pt x="367644" y="57445"/>
                  <a:pt x="518513" y="0"/>
                </a:cubicBezTo>
                <a:cubicBezTo>
                  <a:pt x="669382" y="-57445"/>
                  <a:pt x="870865" y="44409"/>
                  <a:pt x="982446" y="0"/>
                </a:cubicBezTo>
                <a:cubicBezTo>
                  <a:pt x="1094027" y="-44409"/>
                  <a:pt x="1370570" y="5039"/>
                  <a:pt x="1582830" y="0"/>
                </a:cubicBezTo>
                <a:cubicBezTo>
                  <a:pt x="1795090" y="-5039"/>
                  <a:pt x="1908915" y="49926"/>
                  <a:pt x="2101343" y="0"/>
                </a:cubicBezTo>
                <a:cubicBezTo>
                  <a:pt x="2293771" y="-49926"/>
                  <a:pt x="2436143" y="51830"/>
                  <a:pt x="2729017" y="0"/>
                </a:cubicBezTo>
                <a:cubicBezTo>
                  <a:pt x="2765177" y="81226"/>
                  <a:pt x="2707479" y="278722"/>
                  <a:pt x="2729017" y="369332"/>
                </a:cubicBezTo>
                <a:cubicBezTo>
                  <a:pt x="2537311" y="414238"/>
                  <a:pt x="2347296" y="332628"/>
                  <a:pt x="2183214" y="369332"/>
                </a:cubicBezTo>
                <a:cubicBezTo>
                  <a:pt x="2019132" y="406036"/>
                  <a:pt x="1875959" y="309148"/>
                  <a:pt x="1582830" y="369332"/>
                </a:cubicBezTo>
                <a:cubicBezTo>
                  <a:pt x="1289701" y="429516"/>
                  <a:pt x="1273121" y="322968"/>
                  <a:pt x="1118897" y="369332"/>
                </a:cubicBezTo>
                <a:cubicBezTo>
                  <a:pt x="964673" y="415696"/>
                  <a:pt x="743721" y="311542"/>
                  <a:pt x="573094" y="369332"/>
                </a:cubicBezTo>
                <a:cubicBezTo>
                  <a:pt x="402467" y="427122"/>
                  <a:pt x="189511" y="30143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perations/Onboarding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Key Principles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Source Control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dempotenc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Immutability</a:t>
            </a:r>
          </a:p>
          <a:p>
            <a:pPr>
              <a:buFontTx/>
              <a:buChar char="-"/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294AB6-8F34-F02C-5DB8-58169D8BB0FB}"/>
              </a:ext>
            </a:extLst>
          </p:cNvPr>
          <p:cNvSpPr txBox="1"/>
          <p:nvPr/>
        </p:nvSpPr>
        <p:spPr>
          <a:xfrm>
            <a:off x="2215542" y="5860095"/>
            <a:ext cx="1491114" cy="369332"/>
          </a:xfrm>
          <a:custGeom>
            <a:avLst/>
            <a:gdLst>
              <a:gd name="connsiteX0" fmla="*/ 0 w 1491114"/>
              <a:gd name="connsiteY0" fmla="*/ 0 h 369332"/>
              <a:gd name="connsiteX1" fmla="*/ 482127 w 1491114"/>
              <a:gd name="connsiteY1" fmla="*/ 0 h 369332"/>
              <a:gd name="connsiteX2" fmla="*/ 934431 w 1491114"/>
              <a:gd name="connsiteY2" fmla="*/ 0 h 369332"/>
              <a:gd name="connsiteX3" fmla="*/ 1491114 w 1491114"/>
              <a:gd name="connsiteY3" fmla="*/ 0 h 369332"/>
              <a:gd name="connsiteX4" fmla="*/ 1491114 w 1491114"/>
              <a:gd name="connsiteY4" fmla="*/ 369332 h 369332"/>
              <a:gd name="connsiteX5" fmla="*/ 1023898 w 1491114"/>
              <a:gd name="connsiteY5" fmla="*/ 369332 h 369332"/>
              <a:gd name="connsiteX6" fmla="*/ 497038 w 1491114"/>
              <a:gd name="connsiteY6" fmla="*/ 369332 h 369332"/>
              <a:gd name="connsiteX7" fmla="*/ 0 w 1491114"/>
              <a:gd name="connsiteY7" fmla="*/ 369332 h 369332"/>
              <a:gd name="connsiteX8" fmla="*/ 0 w 149111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114" h="369332" extrusionOk="0">
                <a:moveTo>
                  <a:pt x="0" y="0"/>
                </a:moveTo>
                <a:cubicBezTo>
                  <a:pt x="188194" y="-26458"/>
                  <a:pt x="364825" y="36219"/>
                  <a:pt x="482127" y="0"/>
                </a:cubicBezTo>
                <a:cubicBezTo>
                  <a:pt x="599429" y="-36219"/>
                  <a:pt x="728516" y="48033"/>
                  <a:pt x="934431" y="0"/>
                </a:cubicBezTo>
                <a:cubicBezTo>
                  <a:pt x="1140346" y="-48033"/>
                  <a:pt x="1319099" y="18012"/>
                  <a:pt x="1491114" y="0"/>
                </a:cubicBezTo>
                <a:cubicBezTo>
                  <a:pt x="1526702" y="113493"/>
                  <a:pt x="1464307" y="197069"/>
                  <a:pt x="1491114" y="369332"/>
                </a:cubicBezTo>
                <a:cubicBezTo>
                  <a:pt x="1294257" y="390018"/>
                  <a:pt x="1205214" y="325681"/>
                  <a:pt x="1023898" y="369332"/>
                </a:cubicBezTo>
                <a:cubicBezTo>
                  <a:pt x="842582" y="412983"/>
                  <a:pt x="631616" y="334557"/>
                  <a:pt x="497038" y="369332"/>
                </a:cubicBezTo>
                <a:cubicBezTo>
                  <a:pt x="362460" y="404107"/>
                  <a:pt x="248388" y="33064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22097B-7238-5BA4-C778-B62763BCF49A}"/>
              </a:ext>
            </a:extLst>
          </p:cNvPr>
          <p:cNvSpPr txBox="1"/>
          <p:nvPr/>
        </p:nvSpPr>
        <p:spPr>
          <a:xfrm>
            <a:off x="1900059" y="4895973"/>
            <a:ext cx="1665649" cy="369332"/>
          </a:xfrm>
          <a:custGeom>
            <a:avLst/>
            <a:gdLst>
              <a:gd name="connsiteX0" fmla="*/ 0 w 1665649"/>
              <a:gd name="connsiteY0" fmla="*/ 0 h 369332"/>
              <a:gd name="connsiteX1" fmla="*/ 538560 w 1665649"/>
              <a:gd name="connsiteY1" fmla="*/ 0 h 369332"/>
              <a:gd name="connsiteX2" fmla="*/ 1043807 w 1665649"/>
              <a:gd name="connsiteY2" fmla="*/ 0 h 369332"/>
              <a:gd name="connsiteX3" fmla="*/ 1665649 w 1665649"/>
              <a:gd name="connsiteY3" fmla="*/ 0 h 369332"/>
              <a:gd name="connsiteX4" fmla="*/ 1665649 w 1665649"/>
              <a:gd name="connsiteY4" fmla="*/ 369332 h 369332"/>
              <a:gd name="connsiteX5" fmla="*/ 1143746 w 1665649"/>
              <a:gd name="connsiteY5" fmla="*/ 369332 h 369332"/>
              <a:gd name="connsiteX6" fmla="*/ 555216 w 1665649"/>
              <a:gd name="connsiteY6" fmla="*/ 369332 h 369332"/>
              <a:gd name="connsiteX7" fmla="*/ 0 w 1665649"/>
              <a:gd name="connsiteY7" fmla="*/ 369332 h 369332"/>
              <a:gd name="connsiteX8" fmla="*/ 0 w 1665649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65649" h="369332" extrusionOk="0">
                <a:moveTo>
                  <a:pt x="0" y="0"/>
                </a:moveTo>
                <a:cubicBezTo>
                  <a:pt x="220539" y="-59658"/>
                  <a:pt x="340188" y="32099"/>
                  <a:pt x="538560" y="0"/>
                </a:cubicBezTo>
                <a:cubicBezTo>
                  <a:pt x="736932" y="-32099"/>
                  <a:pt x="843340" y="25774"/>
                  <a:pt x="1043807" y="0"/>
                </a:cubicBezTo>
                <a:cubicBezTo>
                  <a:pt x="1244274" y="-25774"/>
                  <a:pt x="1397840" y="1585"/>
                  <a:pt x="1665649" y="0"/>
                </a:cubicBezTo>
                <a:cubicBezTo>
                  <a:pt x="1701237" y="113493"/>
                  <a:pt x="1638842" y="197069"/>
                  <a:pt x="1665649" y="369332"/>
                </a:cubicBezTo>
                <a:cubicBezTo>
                  <a:pt x="1413817" y="377495"/>
                  <a:pt x="1274321" y="340929"/>
                  <a:pt x="1143746" y="369332"/>
                </a:cubicBezTo>
                <a:cubicBezTo>
                  <a:pt x="1013171" y="397735"/>
                  <a:pt x="811374" y="308099"/>
                  <a:pt x="555216" y="369332"/>
                </a:cubicBezTo>
                <a:cubicBezTo>
                  <a:pt x="299058" y="430565"/>
                  <a:pt x="143550" y="319303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58ABD-EA80-B5D8-1ED4-7F96516E83B8}"/>
              </a:ext>
            </a:extLst>
          </p:cNvPr>
          <p:cNvSpPr txBox="1"/>
          <p:nvPr/>
        </p:nvSpPr>
        <p:spPr>
          <a:xfrm>
            <a:off x="350181" y="5865311"/>
            <a:ext cx="1756506" cy="369332"/>
          </a:xfrm>
          <a:custGeom>
            <a:avLst/>
            <a:gdLst>
              <a:gd name="connsiteX0" fmla="*/ 0 w 1756506"/>
              <a:gd name="connsiteY0" fmla="*/ 0 h 369332"/>
              <a:gd name="connsiteX1" fmla="*/ 567937 w 1756506"/>
              <a:gd name="connsiteY1" fmla="*/ 0 h 369332"/>
              <a:gd name="connsiteX2" fmla="*/ 1100744 w 1756506"/>
              <a:gd name="connsiteY2" fmla="*/ 0 h 369332"/>
              <a:gd name="connsiteX3" fmla="*/ 1756506 w 1756506"/>
              <a:gd name="connsiteY3" fmla="*/ 0 h 369332"/>
              <a:gd name="connsiteX4" fmla="*/ 1756506 w 1756506"/>
              <a:gd name="connsiteY4" fmla="*/ 369332 h 369332"/>
              <a:gd name="connsiteX5" fmla="*/ 1206134 w 1756506"/>
              <a:gd name="connsiteY5" fmla="*/ 369332 h 369332"/>
              <a:gd name="connsiteX6" fmla="*/ 585502 w 1756506"/>
              <a:gd name="connsiteY6" fmla="*/ 369332 h 369332"/>
              <a:gd name="connsiteX7" fmla="*/ 0 w 1756506"/>
              <a:gd name="connsiteY7" fmla="*/ 369332 h 369332"/>
              <a:gd name="connsiteX8" fmla="*/ 0 w 1756506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6506" h="369332" extrusionOk="0">
                <a:moveTo>
                  <a:pt x="0" y="0"/>
                </a:moveTo>
                <a:cubicBezTo>
                  <a:pt x="154114" y="-38761"/>
                  <a:pt x="340795" y="377"/>
                  <a:pt x="567937" y="0"/>
                </a:cubicBezTo>
                <a:cubicBezTo>
                  <a:pt x="795079" y="-377"/>
                  <a:pt x="839806" y="7797"/>
                  <a:pt x="1100744" y="0"/>
                </a:cubicBezTo>
                <a:cubicBezTo>
                  <a:pt x="1361682" y="-7797"/>
                  <a:pt x="1587737" y="54317"/>
                  <a:pt x="1756506" y="0"/>
                </a:cubicBezTo>
                <a:cubicBezTo>
                  <a:pt x="1792094" y="113493"/>
                  <a:pt x="1729699" y="197069"/>
                  <a:pt x="1756506" y="369332"/>
                </a:cubicBezTo>
                <a:cubicBezTo>
                  <a:pt x="1538741" y="413092"/>
                  <a:pt x="1372527" y="312999"/>
                  <a:pt x="1206134" y="369332"/>
                </a:cubicBezTo>
                <a:cubicBezTo>
                  <a:pt x="1039741" y="425665"/>
                  <a:pt x="758544" y="332943"/>
                  <a:pt x="585502" y="369332"/>
                </a:cubicBezTo>
                <a:cubicBezTo>
                  <a:pt x="412460" y="405721"/>
                  <a:pt x="252659" y="333992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91A0C-43BD-7353-7CB7-5C2C9BA433AC}"/>
              </a:ext>
            </a:extLst>
          </p:cNvPr>
          <p:cNvGrpSpPr/>
          <p:nvPr/>
        </p:nvGrpSpPr>
        <p:grpSpPr>
          <a:xfrm>
            <a:off x="207122" y="215979"/>
            <a:ext cx="11491716" cy="1214125"/>
            <a:chOff x="207122" y="215979"/>
            <a:chExt cx="11491716" cy="1214125"/>
          </a:xfrm>
        </p:grpSpPr>
        <p:sp>
          <p:nvSpPr>
            <p:cNvPr id="8" name="Rectángulo redondeado 14">
              <a:extLst>
                <a:ext uri="{FF2B5EF4-FFF2-40B4-BE49-F238E27FC236}">
                  <a16:creationId xmlns:a16="http://schemas.microsoft.com/office/drawing/2014/main" id="{B620EF0C-E8FB-CE93-8953-236B7C4AED61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ectángulo 12">
              <a:extLst>
                <a:ext uri="{FF2B5EF4-FFF2-40B4-BE49-F238E27FC236}">
                  <a16:creationId xmlns:a16="http://schemas.microsoft.com/office/drawing/2014/main" id="{4303F270-5F5C-CA64-E663-BE360294A213}"/>
                </a:ext>
              </a:extLst>
            </p:cNvPr>
            <p:cNvSpPr/>
            <p:nvPr/>
          </p:nvSpPr>
          <p:spPr>
            <a:xfrm>
              <a:off x="587908" y="408316"/>
              <a:ext cx="11007404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nfrastructure As Code (</a:t>
              </a:r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) in pract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06203" y="1214879"/>
            <a:ext cx="10221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25296" y="5086235"/>
            <a:ext cx="93116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240994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ly triggered on deman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triggered on PR mer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atically triggered on reques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Who can live with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97" y="2147455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075" y="2460607"/>
            <a:ext cx="1064041" cy="94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946998" y="2418433"/>
            <a:ext cx="4375108" cy="3937917"/>
          </a:xfrm>
          <a:custGeom>
            <a:avLst/>
            <a:gdLst>
              <a:gd name="connsiteX0" fmla="*/ 0 w 4375108"/>
              <a:gd name="connsiteY0" fmla="*/ 656333 h 3937917"/>
              <a:gd name="connsiteX1" fmla="*/ 656333 w 4375108"/>
              <a:gd name="connsiteY1" fmla="*/ 0 h 3937917"/>
              <a:gd name="connsiteX2" fmla="*/ 1227989 w 4375108"/>
              <a:gd name="connsiteY2" fmla="*/ 0 h 3937917"/>
              <a:gd name="connsiteX3" fmla="*/ 1707771 w 4375108"/>
              <a:gd name="connsiteY3" fmla="*/ 0 h 3937917"/>
              <a:gd name="connsiteX4" fmla="*/ 2156930 w 4375108"/>
              <a:gd name="connsiteY4" fmla="*/ 0 h 3937917"/>
              <a:gd name="connsiteX5" fmla="*/ 2697961 w 4375108"/>
              <a:gd name="connsiteY5" fmla="*/ 0 h 3937917"/>
              <a:gd name="connsiteX6" fmla="*/ 3177744 w 4375108"/>
              <a:gd name="connsiteY6" fmla="*/ 0 h 3937917"/>
              <a:gd name="connsiteX7" fmla="*/ 3718775 w 4375108"/>
              <a:gd name="connsiteY7" fmla="*/ 0 h 3937917"/>
              <a:gd name="connsiteX8" fmla="*/ 4375108 w 4375108"/>
              <a:gd name="connsiteY8" fmla="*/ 656333 h 3937917"/>
              <a:gd name="connsiteX9" fmla="*/ 4375108 w 4375108"/>
              <a:gd name="connsiteY9" fmla="*/ 1128878 h 3937917"/>
              <a:gd name="connsiteX10" fmla="*/ 4375108 w 4375108"/>
              <a:gd name="connsiteY10" fmla="*/ 1653928 h 3937917"/>
              <a:gd name="connsiteX11" fmla="*/ 4375108 w 4375108"/>
              <a:gd name="connsiteY11" fmla="*/ 2178979 h 3937917"/>
              <a:gd name="connsiteX12" fmla="*/ 4375108 w 4375108"/>
              <a:gd name="connsiteY12" fmla="*/ 2677776 h 3937917"/>
              <a:gd name="connsiteX13" fmla="*/ 4375108 w 4375108"/>
              <a:gd name="connsiteY13" fmla="*/ 3281584 h 3937917"/>
              <a:gd name="connsiteX14" fmla="*/ 3718775 w 4375108"/>
              <a:gd name="connsiteY14" fmla="*/ 3937917 h 3937917"/>
              <a:gd name="connsiteX15" fmla="*/ 3208368 w 4375108"/>
              <a:gd name="connsiteY15" fmla="*/ 3937917 h 3937917"/>
              <a:gd name="connsiteX16" fmla="*/ 2636712 w 4375108"/>
              <a:gd name="connsiteY16" fmla="*/ 3937917 h 3937917"/>
              <a:gd name="connsiteX17" fmla="*/ 2126305 w 4375108"/>
              <a:gd name="connsiteY17" fmla="*/ 3937917 h 3937917"/>
              <a:gd name="connsiteX18" fmla="*/ 1707771 w 4375108"/>
              <a:gd name="connsiteY18" fmla="*/ 3937917 h 3937917"/>
              <a:gd name="connsiteX19" fmla="*/ 1258613 w 4375108"/>
              <a:gd name="connsiteY19" fmla="*/ 3937917 h 3937917"/>
              <a:gd name="connsiteX20" fmla="*/ 656333 w 4375108"/>
              <a:gd name="connsiteY20" fmla="*/ 3937917 h 3937917"/>
              <a:gd name="connsiteX21" fmla="*/ 0 w 4375108"/>
              <a:gd name="connsiteY21" fmla="*/ 3281584 h 3937917"/>
              <a:gd name="connsiteX22" fmla="*/ 0 w 4375108"/>
              <a:gd name="connsiteY22" fmla="*/ 2809039 h 3937917"/>
              <a:gd name="connsiteX23" fmla="*/ 0 w 4375108"/>
              <a:gd name="connsiteY23" fmla="*/ 2362746 h 3937917"/>
              <a:gd name="connsiteX24" fmla="*/ 0 w 4375108"/>
              <a:gd name="connsiteY24" fmla="*/ 1916453 h 3937917"/>
              <a:gd name="connsiteX25" fmla="*/ 0 w 4375108"/>
              <a:gd name="connsiteY25" fmla="*/ 1391403 h 3937917"/>
              <a:gd name="connsiteX26" fmla="*/ 0 w 4375108"/>
              <a:gd name="connsiteY26" fmla="*/ 656333 h 393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75108" h="3937917" extrusionOk="0">
                <a:moveTo>
                  <a:pt x="0" y="656333"/>
                </a:moveTo>
                <a:cubicBezTo>
                  <a:pt x="-53664" y="260749"/>
                  <a:pt x="200201" y="35148"/>
                  <a:pt x="656333" y="0"/>
                </a:cubicBezTo>
                <a:cubicBezTo>
                  <a:pt x="791172" y="-21331"/>
                  <a:pt x="976989" y="19243"/>
                  <a:pt x="1227989" y="0"/>
                </a:cubicBezTo>
                <a:cubicBezTo>
                  <a:pt x="1478989" y="-19243"/>
                  <a:pt x="1563239" y="11114"/>
                  <a:pt x="1707771" y="0"/>
                </a:cubicBezTo>
                <a:cubicBezTo>
                  <a:pt x="1852303" y="-11114"/>
                  <a:pt x="1977016" y="4091"/>
                  <a:pt x="2156930" y="0"/>
                </a:cubicBezTo>
                <a:cubicBezTo>
                  <a:pt x="2336844" y="-4091"/>
                  <a:pt x="2441860" y="58836"/>
                  <a:pt x="2697961" y="0"/>
                </a:cubicBezTo>
                <a:cubicBezTo>
                  <a:pt x="2954062" y="-58836"/>
                  <a:pt x="2980773" y="47787"/>
                  <a:pt x="3177744" y="0"/>
                </a:cubicBezTo>
                <a:cubicBezTo>
                  <a:pt x="3374715" y="-47787"/>
                  <a:pt x="3561208" y="53114"/>
                  <a:pt x="3718775" y="0"/>
                </a:cubicBezTo>
                <a:cubicBezTo>
                  <a:pt x="4080166" y="-10412"/>
                  <a:pt x="4315394" y="376836"/>
                  <a:pt x="4375108" y="656333"/>
                </a:cubicBezTo>
                <a:cubicBezTo>
                  <a:pt x="4425720" y="890971"/>
                  <a:pt x="4349991" y="1020878"/>
                  <a:pt x="4375108" y="1128878"/>
                </a:cubicBezTo>
                <a:cubicBezTo>
                  <a:pt x="4400225" y="1236878"/>
                  <a:pt x="4334060" y="1439980"/>
                  <a:pt x="4375108" y="1653928"/>
                </a:cubicBezTo>
                <a:cubicBezTo>
                  <a:pt x="4416156" y="1867876"/>
                  <a:pt x="4368587" y="2004086"/>
                  <a:pt x="4375108" y="2178979"/>
                </a:cubicBezTo>
                <a:cubicBezTo>
                  <a:pt x="4381629" y="2353872"/>
                  <a:pt x="4348615" y="2548119"/>
                  <a:pt x="4375108" y="2677776"/>
                </a:cubicBezTo>
                <a:cubicBezTo>
                  <a:pt x="4401601" y="2807433"/>
                  <a:pt x="4363583" y="3121841"/>
                  <a:pt x="4375108" y="3281584"/>
                </a:cubicBezTo>
                <a:cubicBezTo>
                  <a:pt x="4399136" y="3614238"/>
                  <a:pt x="3994104" y="3904225"/>
                  <a:pt x="3718775" y="3937917"/>
                </a:cubicBezTo>
                <a:cubicBezTo>
                  <a:pt x="3597537" y="3942691"/>
                  <a:pt x="3429939" y="3880596"/>
                  <a:pt x="3208368" y="3937917"/>
                </a:cubicBezTo>
                <a:cubicBezTo>
                  <a:pt x="2986797" y="3995238"/>
                  <a:pt x="2830953" y="3929748"/>
                  <a:pt x="2636712" y="3937917"/>
                </a:cubicBezTo>
                <a:cubicBezTo>
                  <a:pt x="2442471" y="3946086"/>
                  <a:pt x="2295612" y="3921671"/>
                  <a:pt x="2126305" y="3937917"/>
                </a:cubicBezTo>
                <a:cubicBezTo>
                  <a:pt x="1956998" y="3954163"/>
                  <a:pt x="1800424" y="3925859"/>
                  <a:pt x="1707771" y="3937917"/>
                </a:cubicBezTo>
                <a:cubicBezTo>
                  <a:pt x="1615118" y="3949975"/>
                  <a:pt x="1451127" y="3911787"/>
                  <a:pt x="1258613" y="3937917"/>
                </a:cubicBezTo>
                <a:cubicBezTo>
                  <a:pt x="1066099" y="3964047"/>
                  <a:pt x="857727" y="3927306"/>
                  <a:pt x="656333" y="3937917"/>
                </a:cubicBezTo>
                <a:cubicBezTo>
                  <a:pt x="323622" y="3931617"/>
                  <a:pt x="4074" y="3682749"/>
                  <a:pt x="0" y="3281584"/>
                </a:cubicBezTo>
                <a:cubicBezTo>
                  <a:pt x="-28652" y="3063214"/>
                  <a:pt x="41289" y="3006939"/>
                  <a:pt x="0" y="2809039"/>
                </a:cubicBezTo>
                <a:cubicBezTo>
                  <a:pt x="-41289" y="2611140"/>
                  <a:pt x="30576" y="2580497"/>
                  <a:pt x="0" y="2362746"/>
                </a:cubicBezTo>
                <a:cubicBezTo>
                  <a:pt x="-30576" y="2144995"/>
                  <a:pt x="31171" y="2074124"/>
                  <a:pt x="0" y="1916453"/>
                </a:cubicBezTo>
                <a:cubicBezTo>
                  <a:pt x="-31171" y="1758782"/>
                  <a:pt x="760" y="1620021"/>
                  <a:pt x="0" y="1391403"/>
                </a:cubicBezTo>
                <a:cubicBezTo>
                  <a:pt x="-760" y="1162785"/>
                  <a:pt x="27314" y="950172"/>
                  <a:pt x="0" y="65633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07D54-217A-EB96-4306-79BC832CA630}"/>
              </a:ext>
            </a:extLst>
          </p:cNvPr>
          <p:cNvGrpSpPr/>
          <p:nvPr/>
        </p:nvGrpSpPr>
        <p:grpSpPr>
          <a:xfrm>
            <a:off x="7215185" y="2475653"/>
            <a:ext cx="1158800" cy="1098301"/>
            <a:chOff x="3591201" y="2800773"/>
            <a:chExt cx="887513" cy="946980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A94EB215-3E96-1CF3-633E-BA52ED360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77503CE5-0331-8B70-1B9C-DCDB256451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B6293F53-00FC-1E2A-243F-3F24254568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2D573-A12D-A313-D630-7C1973588AA2}"/>
              </a:ext>
            </a:extLst>
          </p:cNvPr>
          <p:cNvGrpSpPr/>
          <p:nvPr/>
        </p:nvGrpSpPr>
        <p:grpSpPr>
          <a:xfrm>
            <a:off x="1883950" y="2364677"/>
            <a:ext cx="1291179" cy="1287835"/>
            <a:chOff x="3409768" y="2600757"/>
            <a:chExt cx="1571305" cy="156027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3BC9F0-D6D5-334D-C2C1-C7A80617C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FD495CD4-4BC7-9EFE-1699-A28CC014D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47EE736-55EF-8CF0-4A6E-92C43B6A57DB}"/>
              </a:ext>
            </a:extLst>
          </p:cNvPr>
          <p:cNvSpPr/>
          <p:nvPr/>
        </p:nvSpPr>
        <p:spPr>
          <a:xfrm>
            <a:off x="576146" y="4581583"/>
            <a:ext cx="3907982" cy="1774766"/>
          </a:xfrm>
          <a:custGeom>
            <a:avLst/>
            <a:gdLst>
              <a:gd name="connsiteX0" fmla="*/ 0 w 3907982"/>
              <a:gd name="connsiteY0" fmla="*/ 295800 h 1774766"/>
              <a:gd name="connsiteX1" fmla="*/ 295800 w 3907982"/>
              <a:gd name="connsiteY1" fmla="*/ 0 h 1774766"/>
              <a:gd name="connsiteX2" fmla="*/ 881694 w 3907982"/>
              <a:gd name="connsiteY2" fmla="*/ 0 h 1774766"/>
              <a:gd name="connsiteX3" fmla="*/ 1334933 w 3907982"/>
              <a:gd name="connsiteY3" fmla="*/ 0 h 1774766"/>
              <a:gd name="connsiteX4" fmla="*/ 1887663 w 3907982"/>
              <a:gd name="connsiteY4" fmla="*/ 0 h 1774766"/>
              <a:gd name="connsiteX5" fmla="*/ 2374066 w 3907982"/>
              <a:gd name="connsiteY5" fmla="*/ 0 h 1774766"/>
              <a:gd name="connsiteX6" fmla="*/ 2959960 w 3907982"/>
              <a:gd name="connsiteY6" fmla="*/ 0 h 1774766"/>
              <a:gd name="connsiteX7" fmla="*/ 3612182 w 3907982"/>
              <a:gd name="connsiteY7" fmla="*/ 0 h 1774766"/>
              <a:gd name="connsiteX8" fmla="*/ 3907982 w 3907982"/>
              <a:gd name="connsiteY8" fmla="*/ 295800 h 1774766"/>
              <a:gd name="connsiteX9" fmla="*/ 3907982 w 3907982"/>
              <a:gd name="connsiteY9" fmla="*/ 887383 h 1774766"/>
              <a:gd name="connsiteX10" fmla="*/ 3907982 w 3907982"/>
              <a:gd name="connsiteY10" fmla="*/ 1478966 h 1774766"/>
              <a:gd name="connsiteX11" fmla="*/ 3612182 w 3907982"/>
              <a:gd name="connsiteY11" fmla="*/ 1774766 h 1774766"/>
              <a:gd name="connsiteX12" fmla="*/ 2993124 w 3907982"/>
              <a:gd name="connsiteY12" fmla="*/ 1774766 h 1774766"/>
              <a:gd name="connsiteX13" fmla="*/ 2506721 w 3907982"/>
              <a:gd name="connsiteY13" fmla="*/ 1774766 h 1774766"/>
              <a:gd name="connsiteX14" fmla="*/ 2053482 w 3907982"/>
              <a:gd name="connsiteY14" fmla="*/ 1774766 h 1774766"/>
              <a:gd name="connsiteX15" fmla="*/ 1567080 w 3907982"/>
              <a:gd name="connsiteY15" fmla="*/ 1774766 h 1774766"/>
              <a:gd name="connsiteX16" fmla="*/ 1047513 w 3907982"/>
              <a:gd name="connsiteY16" fmla="*/ 1774766 h 1774766"/>
              <a:gd name="connsiteX17" fmla="*/ 295800 w 3907982"/>
              <a:gd name="connsiteY17" fmla="*/ 1774766 h 1774766"/>
              <a:gd name="connsiteX18" fmla="*/ 0 w 3907982"/>
              <a:gd name="connsiteY18" fmla="*/ 1478966 h 1774766"/>
              <a:gd name="connsiteX19" fmla="*/ 0 w 3907982"/>
              <a:gd name="connsiteY19" fmla="*/ 863720 h 1774766"/>
              <a:gd name="connsiteX20" fmla="*/ 0 w 3907982"/>
              <a:gd name="connsiteY20" fmla="*/ 295800 h 1774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07982" h="1774766" fill="none" extrusionOk="0">
                <a:moveTo>
                  <a:pt x="0" y="295800"/>
                </a:moveTo>
                <a:cubicBezTo>
                  <a:pt x="20487" y="172998"/>
                  <a:pt x="121258" y="5894"/>
                  <a:pt x="295800" y="0"/>
                </a:cubicBezTo>
                <a:cubicBezTo>
                  <a:pt x="532295" y="-1391"/>
                  <a:pt x="598923" y="5736"/>
                  <a:pt x="881694" y="0"/>
                </a:cubicBezTo>
                <a:cubicBezTo>
                  <a:pt x="1164465" y="-5736"/>
                  <a:pt x="1201321" y="29972"/>
                  <a:pt x="1334933" y="0"/>
                </a:cubicBezTo>
                <a:cubicBezTo>
                  <a:pt x="1468545" y="-29972"/>
                  <a:pt x="1765965" y="35675"/>
                  <a:pt x="1887663" y="0"/>
                </a:cubicBezTo>
                <a:cubicBezTo>
                  <a:pt x="2009361" y="-35675"/>
                  <a:pt x="2224980" y="32410"/>
                  <a:pt x="2374066" y="0"/>
                </a:cubicBezTo>
                <a:cubicBezTo>
                  <a:pt x="2523152" y="-32410"/>
                  <a:pt x="2774968" y="41765"/>
                  <a:pt x="2959960" y="0"/>
                </a:cubicBezTo>
                <a:cubicBezTo>
                  <a:pt x="3144952" y="-41765"/>
                  <a:pt x="3294047" y="45903"/>
                  <a:pt x="3612182" y="0"/>
                </a:cubicBezTo>
                <a:cubicBezTo>
                  <a:pt x="3764720" y="33757"/>
                  <a:pt x="3893462" y="86707"/>
                  <a:pt x="3907982" y="295800"/>
                </a:cubicBezTo>
                <a:cubicBezTo>
                  <a:pt x="3940689" y="479855"/>
                  <a:pt x="3872225" y="708667"/>
                  <a:pt x="3907982" y="887383"/>
                </a:cubicBezTo>
                <a:cubicBezTo>
                  <a:pt x="3943739" y="1066099"/>
                  <a:pt x="3907402" y="1189439"/>
                  <a:pt x="3907982" y="1478966"/>
                </a:cubicBezTo>
                <a:cubicBezTo>
                  <a:pt x="3881345" y="1657268"/>
                  <a:pt x="3792040" y="1819451"/>
                  <a:pt x="3612182" y="1774766"/>
                </a:cubicBezTo>
                <a:cubicBezTo>
                  <a:pt x="3339602" y="1816939"/>
                  <a:pt x="3295224" y="1701940"/>
                  <a:pt x="2993124" y="1774766"/>
                </a:cubicBezTo>
                <a:cubicBezTo>
                  <a:pt x="2691024" y="1847592"/>
                  <a:pt x="2636376" y="1730920"/>
                  <a:pt x="2506721" y="1774766"/>
                </a:cubicBezTo>
                <a:cubicBezTo>
                  <a:pt x="2377066" y="1818612"/>
                  <a:pt x="2211001" y="1724309"/>
                  <a:pt x="2053482" y="1774766"/>
                </a:cubicBezTo>
                <a:cubicBezTo>
                  <a:pt x="1895963" y="1825223"/>
                  <a:pt x="1802648" y="1747873"/>
                  <a:pt x="1567080" y="1774766"/>
                </a:cubicBezTo>
                <a:cubicBezTo>
                  <a:pt x="1331512" y="1801659"/>
                  <a:pt x="1233039" y="1714598"/>
                  <a:pt x="1047513" y="1774766"/>
                </a:cubicBezTo>
                <a:cubicBezTo>
                  <a:pt x="861987" y="1834934"/>
                  <a:pt x="468022" y="1688758"/>
                  <a:pt x="295800" y="1774766"/>
                </a:cubicBezTo>
                <a:cubicBezTo>
                  <a:pt x="127600" y="1779565"/>
                  <a:pt x="45678" y="1652584"/>
                  <a:pt x="0" y="1478966"/>
                </a:cubicBezTo>
                <a:cubicBezTo>
                  <a:pt x="-49781" y="1330297"/>
                  <a:pt x="18913" y="1077115"/>
                  <a:pt x="0" y="863720"/>
                </a:cubicBezTo>
                <a:cubicBezTo>
                  <a:pt x="-18913" y="650325"/>
                  <a:pt x="25371" y="523751"/>
                  <a:pt x="0" y="295800"/>
                </a:cubicBezTo>
                <a:close/>
              </a:path>
              <a:path w="3907982" h="1774766" stroke="0" extrusionOk="0">
                <a:moveTo>
                  <a:pt x="0" y="295800"/>
                </a:moveTo>
                <a:cubicBezTo>
                  <a:pt x="-20882" y="119554"/>
                  <a:pt x="106135" y="9870"/>
                  <a:pt x="295800" y="0"/>
                </a:cubicBezTo>
                <a:cubicBezTo>
                  <a:pt x="453860" y="-12989"/>
                  <a:pt x="734573" y="48685"/>
                  <a:pt x="914858" y="0"/>
                </a:cubicBezTo>
                <a:cubicBezTo>
                  <a:pt x="1095143" y="-48685"/>
                  <a:pt x="1269038" y="4660"/>
                  <a:pt x="1434424" y="0"/>
                </a:cubicBezTo>
                <a:cubicBezTo>
                  <a:pt x="1599810" y="-4660"/>
                  <a:pt x="1715140" y="34333"/>
                  <a:pt x="1920827" y="0"/>
                </a:cubicBezTo>
                <a:cubicBezTo>
                  <a:pt x="2126514" y="-34333"/>
                  <a:pt x="2358539" y="37821"/>
                  <a:pt x="2506721" y="0"/>
                </a:cubicBezTo>
                <a:cubicBezTo>
                  <a:pt x="2654903" y="-37821"/>
                  <a:pt x="2906566" y="42803"/>
                  <a:pt x="3026288" y="0"/>
                </a:cubicBezTo>
                <a:cubicBezTo>
                  <a:pt x="3146010" y="-42803"/>
                  <a:pt x="3411886" y="2924"/>
                  <a:pt x="3612182" y="0"/>
                </a:cubicBezTo>
                <a:cubicBezTo>
                  <a:pt x="3772467" y="-29383"/>
                  <a:pt x="3899951" y="143594"/>
                  <a:pt x="3907982" y="295800"/>
                </a:cubicBezTo>
                <a:cubicBezTo>
                  <a:pt x="3947695" y="575082"/>
                  <a:pt x="3848787" y="609114"/>
                  <a:pt x="3907982" y="863720"/>
                </a:cubicBezTo>
                <a:cubicBezTo>
                  <a:pt x="3967177" y="1118326"/>
                  <a:pt x="3877306" y="1196617"/>
                  <a:pt x="3907982" y="1478966"/>
                </a:cubicBezTo>
                <a:cubicBezTo>
                  <a:pt x="3935197" y="1682845"/>
                  <a:pt x="3775937" y="1778791"/>
                  <a:pt x="3612182" y="1774766"/>
                </a:cubicBezTo>
                <a:cubicBezTo>
                  <a:pt x="3496960" y="1826369"/>
                  <a:pt x="3311138" y="1742211"/>
                  <a:pt x="3158943" y="1774766"/>
                </a:cubicBezTo>
                <a:cubicBezTo>
                  <a:pt x="3006748" y="1807321"/>
                  <a:pt x="2726248" y="1726081"/>
                  <a:pt x="2539885" y="1774766"/>
                </a:cubicBezTo>
                <a:cubicBezTo>
                  <a:pt x="2353522" y="1823451"/>
                  <a:pt x="2273193" y="1774461"/>
                  <a:pt x="2053482" y="1774766"/>
                </a:cubicBezTo>
                <a:cubicBezTo>
                  <a:pt x="1833771" y="1775071"/>
                  <a:pt x="1693217" y="1741945"/>
                  <a:pt x="1500752" y="1774766"/>
                </a:cubicBezTo>
                <a:cubicBezTo>
                  <a:pt x="1308287" y="1807587"/>
                  <a:pt x="1064617" y="1721145"/>
                  <a:pt x="881694" y="1774766"/>
                </a:cubicBezTo>
                <a:cubicBezTo>
                  <a:pt x="698771" y="1828387"/>
                  <a:pt x="505823" y="1720333"/>
                  <a:pt x="295800" y="1774766"/>
                </a:cubicBezTo>
                <a:cubicBezTo>
                  <a:pt x="121430" y="1794441"/>
                  <a:pt x="36742" y="1669634"/>
                  <a:pt x="0" y="1478966"/>
                </a:cubicBezTo>
                <a:cubicBezTo>
                  <a:pt x="-54989" y="1234490"/>
                  <a:pt x="10688" y="1088378"/>
                  <a:pt x="0" y="911046"/>
                </a:cubicBezTo>
                <a:cubicBezTo>
                  <a:pt x="-10688" y="733714"/>
                  <a:pt x="25512" y="541996"/>
                  <a:pt x="0" y="29580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  <a:alpha val="0"/>
                </a:schemeClr>
              </a:gs>
              <a:gs pos="38000">
                <a:schemeClr val="accent2">
                  <a:lumMod val="97000"/>
                  <a:lumOff val="3000"/>
                </a:schemeClr>
              </a:gs>
              <a:gs pos="55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5511DB5-BA82-0B4D-6C1F-BD6988456645}"/>
              </a:ext>
            </a:extLst>
          </p:cNvPr>
          <p:cNvSpPr/>
          <p:nvPr/>
        </p:nvSpPr>
        <p:spPr>
          <a:xfrm>
            <a:off x="576146" y="3630212"/>
            <a:ext cx="3907982" cy="1948810"/>
          </a:xfrm>
          <a:custGeom>
            <a:avLst/>
            <a:gdLst>
              <a:gd name="connsiteX0" fmla="*/ 0 w 3907982"/>
              <a:gd name="connsiteY0" fmla="*/ 324808 h 1948810"/>
              <a:gd name="connsiteX1" fmla="*/ 324808 w 3907982"/>
              <a:gd name="connsiteY1" fmla="*/ 0 h 1948810"/>
              <a:gd name="connsiteX2" fmla="*/ 867869 w 3907982"/>
              <a:gd name="connsiteY2" fmla="*/ 0 h 1948810"/>
              <a:gd name="connsiteX3" fmla="*/ 1345763 w 3907982"/>
              <a:gd name="connsiteY3" fmla="*/ 0 h 1948810"/>
              <a:gd name="connsiteX4" fmla="*/ 1921407 w 3907982"/>
              <a:gd name="connsiteY4" fmla="*/ 0 h 1948810"/>
              <a:gd name="connsiteX5" fmla="*/ 2399301 w 3907982"/>
              <a:gd name="connsiteY5" fmla="*/ 0 h 1948810"/>
              <a:gd name="connsiteX6" fmla="*/ 2974946 w 3907982"/>
              <a:gd name="connsiteY6" fmla="*/ 0 h 1948810"/>
              <a:gd name="connsiteX7" fmla="*/ 3583174 w 3907982"/>
              <a:gd name="connsiteY7" fmla="*/ 0 h 1948810"/>
              <a:gd name="connsiteX8" fmla="*/ 3907982 w 3907982"/>
              <a:gd name="connsiteY8" fmla="*/ 324808 h 1948810"/>
              <a:gd name="connsiteX9" fmla="*/ 3907982 w 3907982"/>
              <a:gd name="connsiteY9" fmla="*/ 744881 h 1948810"/>
              <a:gd name="connsiteX10" fmla="*/ 3907982 w 3907982"/>
              <a:gd name="connsiteY10" fmla="*/ 1151962 h 1948810"/>
              <a:gd name="connsiteX11" fmla="*/ 3907982 w 3907982"/>
              <a:gd name="connsiteY11" fmla="*/ 1624002 h 1948810"/>
              <a:gd name="connsiteX12" fmla="*/ 3583174 w 3907982"/>
              <a:gd name="connsiteY12" fmla="*/ 1948810 h 1948810"/>
              <a:gd name="connsiteX13" fmla="*/ 3105280 w 3907982"/>
              <a:gd name="connsiteY13" fmla="*/ 1948810 h 1948810"/>
              <a:gd name="connsiteX14" fmla="*/ 2594803 w 3907982"/>
              <a:gd name="connsiteY14" fmla="*/ 1948810 h 1948810"/>
              <a:gd name="connsiteX15" fmla="*/ 2051742 w 3907982"/>
              <a:gd name="connsiteY15" fmla="*/ 1948810 h 1948810"/>
              <a:gd name="connsiteX16" fmla="*/ 1573848 w 3907982"/>
              <a:gd name="connsiteY16" fmla="*/ 1948810 h 1948810"/>
              <a:gd name="connsiteX17" fmla="*/ 965620 w 3907982"/>
              <a:gd name="connsiteY17" fmla="*/ 1948810 h 1948810"/>
              <a:gd name="connsiteX18" fmla="*/ 324808 w 3907982"/>
              <a:gd name="connsiteY18" fmla="*/ 1948810 h 1948810"/>
              <a:gd name="connsiteX19" fmla="*/ 0 w 3907982"/>
              <a:gd name="connsiteY19" fmla="*/ 1624002 h 1948810"/>
              <a:gd name="connsiteX20" fmla="*/ 0 w 3907982"/>
              <a:gd name="connsiteY20" fmla="*/ 1190937 h 1948810"/>
              <a:gd name="connsiteX21" fmla="*/ 0 w 3907982"/>
              <a:gd name="connsiteY21" fmla="*/ 744881 h 1948810"/>
              <a:gd name="connsiteX22" fmla="*/ 0 w 3907982"/>
              <a:gd name="connsiteY22" fmla="*/ 324808 h 1948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07982" h="1948810" fill="none" extrusionOk="0">
                <a:moveTo>
                  <a:pt x="0" y="324808"/>
                </a:moveTo>
                <a:cubicBezTo>
                  <a:pt x="-9814" y="144866"/>
                  <a:pt x="183880" y="33110"/>
                  <a:pt x="324808" y="0"/>
                </a:cubicBezTo>
                <a:cubicBezTo>
                  <a:pt x="511642" y="-49885"/>
                  <a:pt x="676449" y="10538"/>
                  <a:pt x="867869" y="0"/>
                </a:cubicBezTo>
                <a:cubicBezTo>
                  <a:pt x="1059289" y="-10538"/>
                  <a:pt x="1232694" y="38815"/>
                  <a:pt x="1345763" y="0"/>
                </a:cubicBezTo>
                <a:cubicBezTo>
                  <a:pt x="1458832" y="-38815"/>
                  <a:pt x="1719905" y="18510"/>
                  <a:pt x="1921407" y="0"/>
                </a:cubicBezTo>
                <a:cubicBezTo>
                  <a:pt x="2122909" y="-18510"/>
                  <a:pt x="2244503" y="13959"/>
                  <a:pt x="2399301" y="0"/>
                </a:cubicBezTo>
                <a:cubicBezTo>
                  <a:pt x="2554099" y="-13959"/>
                  <a:pt x="2739638" y="61767"/>
                  <a:pt x="2974946" y="0"/>
                </a:cubicBezTo>
                <a:cubicBezTo>
                  <a:pt x="3210254" y="-61767"/>
                  <a:pt x="3352165" y="29902"/>
                  <a:pt x="3583174" y="0"/>
                </a:cubicBezTo>
                <a:cubicBezTo>
                  <a:pt x="3767010" y="-7724"/>
                  <a:pt x="3893431" y="139843"/>
                  <a:pt x="3907982" y="324808"/>
                </a:cubicBezTo>
                <a:cubicBezTo>
                  <a:pt x="3917924" y="436572"/>
                  <a:pt x="3883703" y="595369"/>
                  <a:pt x="3907982" y="744881"/>
                </a:cubicBezTo>
                <a:cubicBezTo>
                  <a:pt x="3932261" y="894393"/>
                  <a:pt x="3894731" y="1056175"/>
                  <a:pt x="3907982" y="1151962"/>
                </a:cubicBezTo>
                <a:cubicBezTo>
                  <a:pt x="3921233" y="1247749"/>
                  <a:pt x="3884915" y="1416136"/>
                  <a:pt x="3907982" y="1624002"/>
                </a:cubicBezTo>
                <a:cubicBezTo>
                  <a:pt x="3951987" y="1791742"/>
                  <a:pt x="3755826" y="1995464"/>
                  <a:pt x="3583174" y="1948810"/>
                </a:cubicBezTo>
                <a:cubicBezTo>
                  <a:pt x="3376622" y="1978462"/>
                  <a:pt x="3333771" y="1894812"/>
                  <a:pt x="3105280" y="1948810"/>
                </a:cubicBezTo>
                <a:cubicBezTo>
                  <a:pt x="2876789" y="2002808"/>
                  <a:pt x="2821251" y="1905816"/>
                  <a:pt x="2594803" y="1948810"/>
                </a:cubicBezTo>
                <a:cubicBezTo>
                  <a:pt x="2368355" y="1991804"/>
                  <a:pt x="2240340" y="1918797"/>
                  <a:pt x="2051742" y="1948810"/>
                </a:cubicBezTo>
                <a:cubicBezTo>
                  <a:pt x="1863144" y="1978823"/>
                  <a:pt x="1807665" y="1907858"/>
                  <a:pt x="1573848" y="1948810"/>
                </a:cubicBezTo>
                <a:cubicBezTo>
                  <a:pt x="1340031" y="1989762"/>
                  <a:pt x="1221594" y="1931019"/>
                  <a:pt x="965620" y="1948810"/>
                </a:cubicBezTo>
                <a:cubicBezTo>
                  <a:pt x="709646" y="1966601"/>
                  <a:pt x="491756" y="1948759"/>
                  <a:pt x="324808" y="1948810"/>
                </a:cubicBezTo>
                <a:cubicBezTo>
                  <a:pt x="151042" y="1968543"/>
                  <a:pt x="16420" y="1810302"/>
                  <a:pt x="0" y="1624002"/>
                </a:cubicBezTo>
                <a:cubicBezTo>
                  <a:pt x="-16740" y="1503674"/>
                  <a:pt x="50220" y="1313890"/>
                  <a:pt x="0" y="1190937"/>
                </a:cubicBezTo>
                <a:cubicBezTo>
                  <a:pt x="-50220" y="1067984"/>
                  <a:pt x="52467" y="858783"/>
                  <a:pt x="0" y="744881"/>
                </a:cubicBezTo>
                <a:cubicBezTo>
                  <a:pt x="-52467" y="630979"/>
                  <a:pt x="2738" y="488934"/>
                  <a:pt x="0" y="324808"/>
                </a:cubicBezTo>
                <a:close/>
              </a:path>
              <a:path w="3907982" h="1948810" stroke="0" extrusionOk="0">
                <a:moveTo>
                  <a:pt x="0" y="324808"/>
                </a:moveTo>
                <a:cubicBezTo>
                  <a:pt x="-16458" y="135269"/>
                  <a:pt x="100042" y="17032"/>
                  <a:pt x="324808" y="0"/>
                </a:cubicBezTo>
                <a:cubicBezTo>
                  <a:pt x="584856" y="-70117"/>
                  <a:pt x="686307" y="72296"/>
                  <a:pt x="933036" y="0"/>
                </a:cubicBezTo>
                <a:cubicBezTo>
                  <a:pt x="1179765" y="-72296"/>
                  <a:pt x="1243637" y="4369"/>
                  <a:pt x="1443514" y="0"/>
                </a:cubicBezTo>
                <a:cubicBezTo>
                  <a:pt x="1643391" y="-4369"/>
                  <a:pt x="1762975" y="54884"/>
                  <a:pt x="1921407" y="0"/>
                </a:cubicBezTo>
                <a:cubicBezTo>
                  <a:pt x="2079839" y="-54884"/>
                  <a:pt x="2256426" y="16742"/>
                  <a:pt x="2497052" y="0"/>
                </a:cubicBezTo>
                <a:cubicBezTo>
                  <a:pt x="2737679" y="-16742"/>
                  <a:pt x="2804866" y="36103"/>
                  <a:pt x="3007529" y="0"/>
                </a:cubicBezTo>
                <a:cubicBezTo>
                  <a:pt x="3210192" y="-36103"/>
                  <a:pt x="3298463" y="3978"/>
                  <a:pt x="3583174" y="0"/>
                </a:cubicBezTo>
                <a:cubicBezTo>
                  <a:pt x="3756999" y="-53038"/>
                  <a:pt x="3892316" y="167193"/>
                  <a:pt x="3907982" y="324808"/>
                </a:cubicBezTo>
                <a:cubicBezTo>
                  <a:pt x="3914214" y="511100"/>
                  <a:pt x="3875098" y="647723"/>
                  <a:pt x="3907982" y="731889"/>
                </a:cubicBezTo>
                <a:cubicBezTo>
                  <a:pt x="3940866" y="816055"/>
                  <a:pt x="3881811" y="1057140"/>
                  <a:pt x="3907982" y="1164953"/>
                </a:cubicBezTo>
                <a:cubicBezTo>
                  <a:pt x="3934153" y="1272766"/>
                  <a:pt x="3895042" y="1405071"/>
                  <a:pt x="3907982" y="1624002"/>
                </a:cubicBezTo>
                <a:cubicBezTo>
                  <a:pt x="3923788" y="1787770"/>
                  <a:pt x="3773966" y="1941456"/>
                  <a:pt x="3583174" y="1948810"/>
                </a:cubicBezTo>
                <a:cubicBezTo>
                  <a:pt x="3337323" y="1967761"/>
                  <a:pt x="3255795" y="1893168"/>
                  <a:pt x="3040113" y="1948810"/>
                </a:cubicBezTo>
                <a:cubicBezTo>
                  <a:pt x="2824431" y="2004452"/>
                  <a:pt x="2690484" y="1893128"/>
                  <a:pt x="2562219" y="1948810"/>
                </a:cubicBezTo>
                <a:cubicBezTo>
                  <a:pt x="2433954" y="2004492"/>
                  <a:pt x="2238330" y="1944723"/>
                  <a:pt x="2019158" y="1948810"/>
                </a:cubicBezTo>
                <a:cubicBezTo>
                  <a:pt x="1799986" y="1952897"/>
                  <a:pt x="1605572" y="1902699"/>
                  <a:pt x="1410930" y="1948810"/>
                </a:cubicBezTo>
                <a:cubicBezTo>
                  <a:pt x="1216288" y="1994921"/>
                  <a:pt x="1011217" y="1916185"/>
                  <a:pt x="867869" y="1948810"/>
                </a:cubicBezTo>
                <a:cubicBezTo>
                  <a:pt x="724521" y="1981435"/>
                  <a:pt x="500572" y="1910232"/>
                  <a:pt x="324808" y="1948810"/>
                </a:cubicBezTo>
                <a:cubicBezTo>
                  <a:pt x="106065" y="1950430"/>
                  <a:pt x="3372" y="1797311"/>
                  <a:pt x="0" y="1624002"/>
                </a:cubicBezTo>
                <a:cubicBezTo>
                  <a:pt x="-3772" y="1437588"/>
                  <a:pt x="12891" y="1341957"/>
                  <a:pt x="0" y="1177945"/>
                </a:cubicBezTo>
                <a:cubicBezTo>
                  <a:pt x="-12891" y="1013933"/>
                  <a:pt x="47923" y="937091"/>
                  <a:pt x="0" y="770865"/>
                </a:cubicBezTo>
                <a:cubicBezTo>
                  <a:pt x="-47923" y="604639"/>
                  <a:pt x="11915" y="419747"/>
                  <a:pt x="0" y="324808"/>
                </a:cubicBezTo>
                <a:close/>
              </a:path>
            </a:pathLst>
          </a:custGeom>
          <a:gradFill flip="none" rotWithShape="1">
            <a:gsLst>
              <a:gs pos="23000">
                <a:schemeClr val="accent6">
                  <a:lumMod val="67000"/>
                  <a:alpha val="0"/>
                </a:schemeClr>
              </a:gs>
              <a:gs pos="50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32C0AE-654A-2838-C77B-22EEE672F3DB}"/>
              </a:ext>
            </a:extLst>
          </p:cNvPr>
          <p:cNvSpPr txBox="1"/>
          <p:nvPr/>
        </p:nvSpPr>
        <p:spPr>
          <a:xfrm>
            <a:off x="805118" y="4672699"/>
            <a:ext cx="1323054" cy="369332"/>
          </a:xfrm>
          <a:custGeom>
            <a:avLst/>
            <a:gdLst>
              <a:gd name="connsiteX0" fmla="*/ 0 w 1323054"/>
              <a:gd name="connsiteY0" fmla="*/ 0 h 369332"/>
              <a:gd name="connsiteX1" fmla="*/ 427787 w 1323054"/>
              <a:gd name="connsiteY1" fmla="*/ 0 h 369332"/>
              <a:gd name="connsiteX2" fmla="*/ 829114 w 1323054"/>
              <a:gd name="connsiteY2" fmla="*/ 0 h 369332"/>
              <a:gd name="connsiteX3" fmla="*/ 1323054 w 1323054"/>
              <a:gd name="connsiteY3" fmla="*/ 0 h 369332"/>
              <a:gd name="connsiteX4" fmla="*/ 1323054 w 1323054"/>
              <a:gd name="connsiteY4" fmla="*/ 369332 h 369332"/>
              <a:gd name="connsiteX5" fmla="*/ 908497 w 1323054"/>
              <a:gd name="connsiteY5" fmla="*/ 369332 h 369332"/>
              <a:gd name="connsiteX6" fmla="*/ 441018 w 1323054"/>
              <a:gd name="connsiteY6" fmla="*/ 369332 h 369332"/>
              <a:gd name="connsiteX7" fmla="*/ 0 w 1323054"/>
              <a:gd name="connsiteY7" fmla="*/ 369332 h 369332"/>
              <a:gd name="connsiteX8" fmla="*/ 0 w 1323054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3054" h="369332" extrusionOk="0">
                <a:moveTo>
                  <a:pt x="0" y="0"/>
                </a:moveTo>
                <a:cubicBezTo>
                  <a:pt x="140916" y="-24695"/>
                  <a:pt x="229075" y="49349"/>
                  <a:pt x="427787" y="0"/>
                </a:cubicBezTo>
                <a:cubicBezTo>
                  <a:pt x="626499" y="-49349"/>
                  <a:pt x="681920" y="40189"/>
                  <a:pt x="829114" y="0"/>
                </a:cubicBezTo>
                <a:cubicBezTo>
                  <a:pt x="976308" y="-40189"/>
                  <a:pt x="1209277" y="51528"/>
                  <a:pt x="1323054" y="0"/>
                </a:cubicBezTo>
                <a:cubicBezTo>
                  <a:pt x="1358642" y="113493"/>
                  <a:pt x="1296247" y="197069"/>
                  <a:pt x="1323054" y="369332"/>
                </a:cubicBezTo>
                <a:cubicBezTo>
                  <a:pt x="1173213" y="380433"/>
                  <a:pt x="1061290" y="360094"/>
                  <a:pt x="908497" y="369332"/>
                </a:cubicBezTo>
                <a:cubicBezTo>
                  <a:pt x="755704" y="378570"/>
                  <a:pt x="567231" y="359462"/>
                  <a:pt x="441018" y="369332"/>
                </a:cubicBezTo>
                <a:cubicBezTo>
                  <a:pt x="314805" y="379202"/>
                  <a:pt x="120376" y="33323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D727FC-C6A3-9DAF-8AF5-DF0A415096C9}"/>
              </a:ext>
            </a:extLst>
          </p:cNvPr>
          <p:cNvSpPr txBox="1"/>
          <p:nvPr/>
        </p:nvSpPr>
        <p:spPr>
          <a:xfrm>
            <a:off x="1782707" y="5121711"/>
            <a:ext cx="2624821" cy="369332"/>
          </a:xfrm>
          <a:custGeom>
            <a:avLst/>
            <a:gdLst>
              <a:gd name="connsiteX0" fmla="*/ 0 w 2624821"/>
              <a:gd name="connsiteY0" fmla="*/ 0 h 369332"/>
              <a:gd name="connsiteX1" fmla="*/ 498716 w 2624821"/>
              <a:gd name="connsiteY1" fmla="*/ 0 h 369332"/>
              <a:gd name="connsiteX2" fmla="*/ 944936 w 2624821"/>
              <a:gd name="connsiteY2" fmla="*/ 0 h 369332"/>
              <a:gd name="connsiteX3" fmla="*/ 1522396 w 2624821"/>
              <a:gd name="connsiteY3" fmla="*/ 0 h 369332"/>
              <a:gd name="connsiteX4" fmla="*/ 2021112 w 2624821"/>
              <a:gd name="connsiteY4" fmla="*/ 0 h 369332"/>
              <a:gd name="connsiteX5" fmla="*/ 2624821 w 2624821"/>
              <a:gd name="connsiteY5" fmla="*/ 0 h 369332"/>
              <a:gd name="connsiteX6" fmla="*/ 2624821 w 2624821"/>
              <a:gd name="connsiteY6" fmla="*/ 369332 h 369332"/>
              <a:gd name="connsiteX7" fmla="*/ 2099857 w 2624821"/>
              <a:gd name="connsiteY7" fmla="*/ 369332 h 369332"/>
              <a:gd name="connsiteX8" fmla="*/ 1522396 w 2624821"/>
              <a:gd name="connsiteY8" fmla="*/ 369332 h 369332"/>
              <a:gd name="connsiteX9" fmla="*/ 1076177 w 2624821"/>
              <a:gd name="connsiteY9" fmla="*/ 369332 h 369332"/>
              <a:gd name="connsiteX10" fmla="*/ 551212 w 2624821"/>
              <a:gd name="connsiteY10" fmla="*/ 369332 h 369332"/>
              <a:gd name="connsiteX11" fmla="*/ 0 w 2624821"/>
              <a:gd name="connsiteY11" fmla="*/ 369332 h 369332"/>
              <a:gd name="connsiteX12" fmla="*/ 0 w 2624821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24821" h="369332" extrusionOk="0">
                <a:moveTo>
                  <a:pt x="0" y="0"/>
                </a:moveTo>
                <a:cubicBezTo>
                  <a:pt x="202232" y="-43188"/>
                  <a:pt x="350877" y="19620"/>
                  <a:pt x="498716" y="0"/>
                </a:cubicBezTo>
                <a:cubicBezTo>
                  <a:pt x="646555" y="-19620"/>
                  <a:pt x="825399" y="48375"/>
                  <a:pt x="944936" y="0"/>
                </a:cubicBezTo>
                <a:cubicBezTo>
                  <a:pt x="1064473" y="-48375"/>
                  <a:pt x="1382501" y="49983"/>
                  <a:pt x="1522396" y="0"/>
                </a:cubicBezTo>
                <a:cubicBezTo>
                  <a:pt x="1662291" y="-49983"/>
                  <a:pt x="1891154" y="37239"/>
                  <a:pt x="2021112" y="0"/>
                </a:cubicBezTo>
                <a:cubicBezTo>
                  <a:pt x="2151070" y="-37239"/>
                  <a:pt x="2400332" y="31076"/>
                  <a:pt x="2624821" y="0"/>
                </a:cubicBezTo>
                <a:cubicBezTo>
                  <a:pt x="2660981" y="81226"/>
                  <a:pt x="2603283" y="278722"/>
                  <a:pt x="2624821" y="369332"/>
                </a:cubicBezTo>
                <a:cubicBezTo>
                  <a:pt x="2425850" y="421389"/>
                  <a:pt x="2251795" y="333479"/>
                  <a:pt x="2099857" y="369332"/>
                </a:cubicBezTo>
                <a:cubicBezTo>
                  <a:pt x="1947919" y="405185"/>
                  <a:pt x="1726067" y="344819"/>
                  <a:pt x="1522396" y="369332"/>
                </a:cubicBezTo>
                <a:cubicBezTo>
                  <a:pt x="1318725" y="393845"/>
                  <a:pt x="1282524" y="321123"/>
                  <a:pt x="1076177" y="369332"/>
                </a:cubicBezTo>
                <a:cubicBezTo>
                  <a:pt x="869830" y="417541"/>
                  <a:pt x="780650" y="353207"/>
                  <a:pt x="551212" y="369332"/>
                </a:cubicBezTo>
                <a:cubicBezTo>
                  <a:pt x="321775" y="385457"/>
                  <a:pt x="157209" y="324142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s/Onboard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173F669-346B-254F-DCD9-B13DEB261A29}"/>
              </a:ext>
            </a:extLst>
          </p:cNvPr>
          <p:cNvSpPr txBox="1"/>
          <p:nvPr/>
        </p:nvSpPr>
        <p:spPr>
          <a:xfrm>
            <a:off x="729796" y="3741877"/>
            <a:ext cx="1561453" cy="369332"/>
          </a:xfrm>
          <a:custGeom>
            <a:avLst/>
            <a:gdLst>
              <a:gd name="connsiteX0" fmla="*/ 0 w 1561453"/>
              <a:gd name="connsiteY0" fmla="*/ 0 h 369332"/>
              <a:gd name="connsiteX1" fmla="*/ 504870 w 1561453"/>
              <a:gd name="connsiteY1" fmla="*/ 0 h 369332"/>
              <a:gd name="connsiteX2" fmla="*/ 978511 w 1561453"/>
              <a:gd name="connsiteY2" fmla="*/ 0 h 369332"/>
              <a:gd name="connsiteX3" fmla="*/ 1561453 w 1561453"/>
              <a:gd name="connsiteY3" fmla="*/ 0 h 369332"/>
              <a:gd name="connsiteX4" fmla="*/ 1561453 w 1561453"/>
              <a:gd name="connsiteY4" fmla="*/ 369332 h 369332"/>
              <a:gd name="connsiteX5" fmla="*/ 1072198 w 1561453"/>
              <a:gd name="connsiteY5" fmla="*/ 369332 h 369332"/>
              <a:gd name="connsiteX6" fmla="*/ 520484 w 1561453"/>
              <a:gd name="connsiteY6" fmla="*/ 369332 h 369332"/>
              <a:gd name="connsiteX7" fmla="*/ 0 w 1561453"/>
              <a:gd name="connsiteY7" fmla="*/ 369332 h 369332"/>
              <a:gd name="connsiteX8" fmla="*/ 0 w 156145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1453" h="369332" extrusionOk="0">
                <a:moveTo>
                  <a:pt x="0" y="0"/>
                </a:moveTo>
                <a:cubicBezTo>
                  <a:pt x="105663" y="-56601"/>
                  <a:pt x="378439" y="8803"/>
                  <a:pt x="504870" y="0"/>
                </a:cubicBezTo>
                <a:cubicBezTo>
                  <a:pt x="631301" y="-8803"/>
                  <a:pt x="811558" y="50166"/>
                  <a:pt x="978511" y="0"/>
                </a:cubicBezTo>
                <a:cubicBezTo>
                  <a:pt x="1145464" y="-50166"/>
                  <a:pt x="1404115" y="69437"/>
                  <a:pt x="1561453" y="0"/>
                </a:cubicBezTo>
                <a:cubicBezTo>
                  <a:pt x="1597041" y="113493"/>
                  <a:pt x="1534646" y="197069"/>
                  <a:pt x="1561453" y="369332"/>
                </a:cubicBezTo>
                <a:cubicBezTo>
                  <a:pt x="1417838" y="396110"/>
                  <a:pt x="1238872" y="339490"/>
                  <a:pt x="1072198" y="369332"/>
                </a:cubicBezTo>
                <a:cubicBezTo>
                  <a:pt x="905524" y="399174"/>
                  <a:pt x="665741" y="313066"/>
                  <a:pt x="520484" y="369332"/>
                </a:cubicBezTo>
                <a:cubicBezTo>
                  <a:pt x="375227" y="425598"/>
                  <a:pt x="144807" y="321526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evOps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F6FAF-26C9-D610-090B-D3C16FB0D072}"/>
              </a:ext>
            </a:extLst>
          </p:cNvPr>
          <p:cNvSpPr txBox="1"/>
          <p:nvPr/>
        </p:nvSpPr>
        <p:spPr>
          <a:xfrm>
            <a:off x="2695348" y="3884265"/>
            <a:ext cx="1646413" cy="369332"/>
          </a:xfrm>
          <a:custGeom>
            <a:avLst/>
            <a:gdLst>
              <a:gd name="connsiteX0" fmla="*/ 0 w 1646413"/>
              <a:gd name="connsiteY0" fmla="*/ 0 h 369332"/>
              <a:gd name="connsiteX1" fmla="*/ 532340 w 1646413"/>
              <a:gd name="connsiteY1" fmla="*/ 0 h 369332"/>
              <a:gd name="connsiteX2" fmla="*/ 1031752 w 1646413"/>
              <a:gd name="connsiteY2" fmla="*/ 0 h 369332"/>
              <a:gd name="connsiteX3" fmla="*/ 1646413 w 1646413"/>
              <a:gd name="connsiteY3" fmla="*/ 0 h 369332"/>
              <a:gd name="connsiteX4" fmla="*/ 1646413 w 1646413"/>
              <a:gd name="connsiteY4" fmla="*/ 369332 h 369332"/>
              <a:gd name="connsiteX5" fmla="*/ 1130537 w 1646413"/>
              <a:gd name="connsiteY5" fmla="*/ 369332 h 369332"/>
              <a:gd name="connsiteX6" fmla="*/ 548804 w 1646413"/>
              <a:gd name="connsiteY6" fmla="*/ 369332 h 369332"/>
              <a:gd name="connsiteX7" fmla="*/ 0 w 1646413"/>
              <a:gd name="connsiteY7" fmla="*/ 369332 h 369332"/>
              <a:gd name="connsiteX8" fmla="*/ 0 w 1646413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46413" h="369332" extrusionOk="0">
                <a:moveTo>
                  <a:pt x="0" y="0"/>
                </a:moveTo>
                <a:cubicBezTo>
                  <a:pt x="255277" y="-35214"/>
                  <a:pt x="341683" y="41749"/>
                  <a:pt x="532340" y="0"/>
                </a:cubicBezTo>
                <a:cubicBezTo>
                  <a:pt x="722997" y="-41749"/>
                  <a:pt x="792835" y="26574"/>
                  <a:pt x="1031752" y="0"/>
                </a:cubicBezTo>
                <a:cubicBezTo>
                  <a:pt x="1270669" y="-26574"/>
                  <a:pt x="1355893" y="40199"/>
                  <a:pt x="1646413" y="0"/>
                </a:cubicBezTo>
                <a:cubicBezTo>
                  <a:pt x="1682001" y="113493"/>
                  <a:pt x="1619606" y="197069"/>
                  <a:pt x="1646413" y="369332"/>
                </a:cubicBezTo>
                <a:cubicBezTo>
                  <a:pt x="1424294" y="400777"/>
                  <a:pt x="1345325" y="345683"/>
                  <a:pt x="1130537" y="369332"/>
                </a:cubicBezTo>
                <a:cubicBezTo>
                  <a:pt x="915749" y="392981"/>
                  <a:pt x="676777" y="330864"/>
                  <a:pt x="548804" y="369332"/>
                </a:cubicBezTo>
                <a:cubicBezTo>
                  <a:pt x="420831" y="407800"/>
                  <a:pt x="205308" y="3616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Platform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BD15E5-87F3-CA6B-E40E-FB65A8529144}"/>
              </a:ext>
            </a:extLst>
          </p:cNvPr>
          <p:cNvSpPr txBox="1"/>
          <p:nvPr/>
        </p:nvSpPr>
        <p:spPr>
          <a:xfrm>
            <a:off x="739202" y="5776999"/>
            <a:ext cx="1386918" cy="369332"/>
          </a:xfrm>
          <a:custGeom>
            <a:avLst/>
            <a:gdLst>
              <a:gd name="connsiteX0" fmla="*/ 0 w 1386918"/>
              <a:gd name="connsiteY0" fmla="*/ 0 h 369332"/>
              <a:gd name="connsiteX1" fmla="*/ 448437 w 1386918"/>
              <a:gd name="connsiteY1" fmla="*/ 0 h 369332"/>
              <a:gd name="connsiteX2" fmla="*/ 869135 w 1386918"/>
              <a:gd name="connsiteY2" fmla="*/ 0 h 369332"/>
              <a:gd name="connsiteX3" fmla="*/ 1386918 w 1386918"/>
              <a:gd name="connsiteY3" fmla="*/ 0 h 369332"/>
              <a:gd name="connsiteX4" fmla="*/ 1386918 w 1386918"/>
              <a:gd name="connsiteY4" fmla="*/ 369332 h 369332"/>
              <a:gd name="connsiteX5" fmla="*/ 952350 w 1386918"/>
              <a:gd name="connsiteY5" fmla="*/ 369332 h 369332"/>
              <a:gd name="connsiteX6" fmla="*/ 462306 w 1386918"/>
              <a:gd name="connsiteY6" fmla="*/ 369332 h 369332"/>
              <a:gd name="connsiteX7" fmla="*/ 0 w 1386918"/>
              <a:gd name="connsiteY7" fmla="*/ 369332 h 369332"/>
              <a:gd name="connsiteX8" fmla="*/ 0 w 1386918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6918" h="369332" extrusionOk="0">
                <a:moveTo>
                  <a:pt x="0" y="0"/>
                </a:moveTo>
                <a:cubicBezTo>
                  <a:pt x="187637" y="-4289"/>
                  <a:pt x="283600" y="36605"/>
                  <a:pt x="448437" y="0"/>
                </a:cubicBezTo>
                <a:cubicBezTo>
                  <a:pt x="613274" y="-36605"/>
                  <a:pt x="700375" y="17888"/>
                  <a:pt x="869135" y="0"/>
                </a:cubicBezTo>
                <a:cubicBezTo>
                  <a:pt x="1037895" y="-17888"/>
                  <a:pt x="1163468" y="22981"/>
                  <a:pt x="1386918" y="0"/>
                </a:cubicBezTo>
                <a:cubicBezTo>
                  <a:pt x="1422506" y="113493"/>
                  <a:pt x="1360111" y="197069"/>
                  <a:pt x="1386918" y="369332"/>
                </a:cubicBezTo>
                <a:cubicBezTo>
                  <a:pt x="1233383" y="415922"/>
                  <a:pt x="1104230" y="321848"/>
                  <a:pt x="952350" y="369332"/>
                </a:cubicBezTo>
                <a:cubicBezTo>
                  <a:pt x="800470" y="416816"/>
                  <a:pt x="676393" y="335867"/>
                  <a:pt x="462306" y="369332"/>
                </a:cubicBezTo>
                <a:cubicBezTo>
                  <a:pt x="248219" y="402797"/>
                  <a:pt x="122592" y="333919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Us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6DECD8-AFDA-2F69-0480-985F4DB77CD8}"/>
              </a:ext>
            </a:extLst>
          </p:cNvPr>
          <p:cNvSpPr txBox="1"/>
          <p:nvPr/>
        </p:nvSpPr>
        <p:spPr>
          <a:xfrm>
            <a:off x="4946998" y="3488837"/>
            <a:ext cx="4375108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oes not require strict User RBAC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cales well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an be integrated with other systems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benefits from DevOps practice…</a:t>
            </a:r>
          </a:p>
          <a:p>
            <a:pPr marL="285750" indent="-285750">
              <a:buFontTx/>
              <a:buChar char="-"/>
            </a:pP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frastructure change tracking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imited Input types and validation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Environment inconsistency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cons as it is another 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     abstraction lay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1FB57E80-A018-A0B1-4D5E-838F9781EBBB}"/>
              </a:ext>
            </a:extLst>
          </p:cNvPr>
          <p:cNvSpPr/>
          <p:nvPr/>
        </p:nvSpPr>
        <p:spPr>
          <a:xfrm>
            <a:off x="3358674" y="2850269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27627FF-FCD2-EA77-5398-CDC6E59D9C0A}"/>
              </a:ext>
            </a:extLst>
          </p:cNvPr>
          <p:cNvSpPr/>
          <p:nvPr/>
        </p:nvSpPr>
        <p:spPr>
          <a:xfrm>
            <a:off x="9400820" y="2839067"/>
            <a:ext cx="669707" cy="245407"/>
          </a:xfrm>
          <a:custGeom>
            <a:avLst/>
            <a:gdLst>
              <a:gd name="connsiteX0" fmla="*/ 0 w 669707"/>
              <a:gd name="connsiteY0" fmla="*/ 61352 h 245407"/>
              <a:gd name="connsiteX1" fmla="*/ 547004 w 669707"/>
              <a:gd name="connsiteY1" fmla="*/ 61352 h 245407"/>
              <a:gd name="connsiteX2" fmla="*/ 547004 w 669707"/>
              <a:gd name="connsiteY2" fmla="*/ 0 h 245407"/>
              <a:gd name="connsiteX3" fmla="*/ 669707 w 669707"/>
              <a:gd name="connsiteY3" fmla="*/ 122704 h 245407"/>
              <a:gd name="connsiteX4" fmla="*/ 547004 w 669707"/>
              <a:gd name="connsiteY4" fmla="*/ 245407 h 245407"/>
              <a:gd name="connsiteX5" fmla="*/ 547004 w 669707"/>
              <a:gd name="connsiteY5" fmla="*/ 184055 h 245407"/>
              <a:gd name="connsiteX6" fmla="*/ 0 w 669707"/>
              <a:gd name="connsiteY6" fmla="*/ 184055 h 245407"/>
              <a:gd name="connsiteX7" fmla="*/ 0 w 669707"/>
              <a:gd name="connsiteY7" fmla="*/ 61352 h 24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9707" h="245407" extrusionOk="0">
                <a:moveTo>
                  <a:pt x="0" y="61352"/>
                </a:moveTo>
                <a:cubicBezTo>
                  <a:pt x="189019" y="77875"/>
                  <a:pt x="407720" y="44207"/>
                  <a:pt x="547004" y="61352"/>
                </a:cubicBezTo>
                <a:cubicBezTo>
                  <a:pt x="548801" y="38059"/>
                  <a:pt x="545342" y="28081"/>
                  <a:pt x="547004" y="0"/>
                </a:cubicBezTo>
                <a:cubicBezTo>
                  <a:pt x="590688" y="43511"/>
                  <a:pt x="624706" y="69860"/>
                  <a:pt x="669707" y="122704"/>
                </a:cubicBezTo>
                <a:cubicBezTo>
                  <a:pt x="627217" y="165144"/>
                  <a:pt x="596164" y="191265"/>
                  <a:pt x="547004" y="245407"/>
                </a:cubicBezTo>
                <a:cubicBezTo>
                  <a:pt x="549647" y="216620"/>
                  <a:pt x="549133" y="209594"/>
                  <a:pt x="547004" y="184055"/>
                </a:cubicBezTo>
                <a:cubicBezTo>
                  <a:pt x="367967" y="210480"/>
                  <a:pt x="256026" y="177201"/>
                  <a:pt x="0" y="184055"/>
                </a:cubicBezTo>
                <a:cubicBezTo>
                  <a:pt x="599" y="133513"/>
                  <a:pt x="213" y="121163"/>
                  <a:pt x="0" y="61352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B53F8E3-322F-0C5B-73FC-001E319C1888}"/>
              </a:ext>
            </a:extLst>
          </p:cNvPr>
          <p:cNvSpPr/>
          <p:nvPr/>
        </p:nvSpPr>
        <p:spPr>
          <a:xfrm>
            <a:off x="6680830" y="2854266"/>
            <a:ext cx="545305" cy="237342"/>
          </a:xfrm>
          <a:custGeom>
            <a:avLst/>
            <a:gdLst>
              <a:gd name="connsiteX0" fmla="*/ 0 w 545305"/>
              <a:gd name="connsiteY0" fmla="*/ 59336 h 237342"/>
              <a:gd name="connsiteX1" fmla="*/ 426634 w 545305"/>
              <a:gd name="connsiteY1" fmla="*/ 59336 h 237342"/>
              <a:gd name="connsiteX2" fmla="*/ 426634 w 545305"/>
              <a:gd name="connsiteY2" fmla="*/ 0 h 237342"/>
              <a:gd name="connsiteX3" fmla="*/ 545305 w 545305"/>
              <a:gd name="connsiteY3" fmla="*/ 118671 h 237342"/>
              <a:gd name="connsiteX4" fmla="*/ 426634 w 545305"/>
              <a:gd name="connsiteY4" fmla="*/ 237342 h 237342"/>
              <a:gd name="connsiteX5" fmla="*/ 426634 w 545305"/>
              <a:gd name="connsiteY5" fmla="*/ 178007 h 237342"/>
              <a:gd name="connsiteX6" fmla="*/ 0 w 545305"/>
              <a:gd name="connsiteY6" fmla="*/ 178007 h 237342"/>
              <a:gd name="connsiteX7" fmla="*/ 0 w 545305"/>
              <a:gd name="connsiteY7" fmla="*/ 59336 h 237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305" h="237342" extrusionOk="0">
                <a:moveTo>
                  <a:pt x="0" y="59336"/>
                </a:moveTo>
                <a:cubicBezTo>
                  <a:pt x="175754" y="65757"/>
                  <a:pt x="238596" y="65041"/>
                  <a:pt x="426634" y="59336"/>
                </a:cubicBezTo>
                <a:cubicBezTo>
                  <a:pt x="425046" y="36575"/>
                  <a:pt x="424541" y="13137"/>
                  <a:pt x="426634" y="0"/>
                </a:cubicBezTo>
                <a:cubicBezTo>
                  <a:pt x="460755" y="42486"/>
                  <a:pt x="502058" y="65675"/>
                  <a:pt x="545305" y="118671"/>
                </a:cubicBezTo>
                <a:cubicBezTo>
                  <a:pt x="516225" y="144178"/>
                  <a:pt x="482138" y="175563"/>
                  <a:pt x="426634" y="237342"/>
                </a:cubicBezTo>
                <a:cubicBezTo>
                  <a:pt x="428082" y="212027"/>
                  <a:pt x="425621" y="205692"/>
                  <a:pt x="426634" y="178007"/>
                </a:cubicBezTo>
                <a:cubicBezTo>
                  <a:pt x="296275" y="179733"/>
                  <a:pt x="134502" y="172857"/>
                  <a:pt x="0" y="178007"/>
                </a:cubicBezTo>
                <a:cubicBezTo>
                  <a:pt x="-5410" y="123908"/>
                  <a:pt x="2994" y="100791"/>
                  <a:pt x="0" y="59336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426BF3-162F-49FC-4675-917358914730}"/>
              </a:ext>
            </a:extLst>
          </p:cNvPr>
          <p:cNvSpPr txBox="1"/>
          <p:nvPr/>
        </p:nvSpPr>
        <p:spPr>
          <a:xfrm>
            <a:off x="914711" y="4151184"/>
            <a:ext cx="1652312" cy="369332"/>
          </a:xfrm>
          <a:custGeom>
            <a:avLst/>
            <a:gdLst>
              <a:gd name="connsiteX0" fmla="*/ 0 w 1652312"/>
              <a:gd name="connsiteY0" fmla="*/ 0 h 369332"/>
              <a:gd name="connsiteX1" fmla="*/ 534248 w 1652312"/>
              <a:gd name="connsiteY1" fmla="*/ 0 h 369332"/>
              <a:gd name="connsiteX2" fmla="*/ 1035449 w 1652312"/>
              <a:gd name="connsiteY2" fmla="*/ 0 h 369332"/>
              <a:gd name="connsiteX3" fmla="*/ 1652312 w 1652312"/>
              <a:gd name="connsiteY3" fmla="*/ 0 h 369332"/>
              <a:gd name="connsiteX4" fmla="*/ 1652312 w 1652312"/>
              <a:gd name="connsiteY4" fmla="*/ 369332 h 369332"/>
              <a:gd name="connsiteX5" fmla="*/ 1134588 w 1652312"/>
              <a:gd name="connsiteY5" fmla="*/ 369332 h 369332"/>
              <a:gd name="connsiteX6" fmla="*/ 550771 w 1652312"/>
              <a:gd name="connsiteY6" fmla="*/ 369332 h 369332"/>
              <a:gd name="connsiteX7" fmla="*/ 0 w 1652312"/>
              <a:gd name="connsiteY7" fmla="*/ 369332 h 369332"/>
              <a:gd name="connsiteX8" fmla="*/ 0 w 1652312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312" h="369332" extrusionOk="0">
                <a:moveTo>
                  <a:pt x="0" y="0"/>
                </a:moveTo>
                <a:cubicBezTo>
                  <a:pt x="111506" y="-14757"/>
                  <a:pt x="312422" y="35711"/>
                  <a:pt x="534248" y="0"/>
                </a:cubicBezTo>
                <a:cubicBezTo>
                  <a:pt x="756074" y="-35711"/>
                  <a:pt x="907398" y="21459"/>
                  <a:pt x="1035449" y="0"/>
                </a:cubicBezTo>
                <a:cubicBezTo>
                  <a:pt x="1163500" y="-21459"/>
                  <a:pt x="1428848" y="17889"/>
                  <a:pt x="1652312" y="0"/>
                </a:cubicBezTo>
                <a:cubicBezTo>
                  <a:pt x="1687900" y="113493"/>
                  <a:pt x="1625505" y="197069"/>
                  <a:pt x="1652312" y="369332"/>
                </a:cubicBezTo>
                <a:cubicBezTo>
                  <a:pt x="1474792" y="394933"/>
                  <a:pt x="1275693" y="319503"/>
                  <a:pt x="1134588" y="369332"/>
                </a:cubicBezTo>
                <a:cubicBezTo>
                  <a:pt x="993483" y="419161"/>
                  <a:pt x="737018" y="333735"/>
                  <a:pt x="550771" y="369332"/>
                </a:cubicBezTo>
                <a:cubicBezTo>
                  <a:pt x="364524" y="404929"/>
                  <a:pt x="174422" y="351671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ther System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1A4093-9917-AF61-BEE1-87B15B960286}"/>
              </a:ext>
            </a:extLst>
          </p:cNvPr>
          <p:cNvGrpSpPr/>
          <p:nvPr/>
        </p:nvGrpSpPr>
        <p:grpSpPr>
          <a:xfrm>
            <a:off x="207122" y="215979"/>
            <a:ext cx="11895978" cy="1214125"/>
            <a:chOff x="207122" y="215979"/>
            <a:chExt cx="11634736" cy="1214125"/>
          </a:xfrm>
        </p:grpSpPr>
        <p:sp>
          <p:nvSpPr>
            <p:cNvPr id="13" name="Rectángulo redondeado 14">
              <a:extLst>
                <a:ext uri="{FF2B5EF4-FFF2-40B4-BE49-F238E27FC236}">
                  <a16:creationId xmlns:a16="http://schemas.microsoft.com/office/drawing/2014/main" id="{88D0C9EC-0EEF-04EE-81EA-8A66D83FC309}"/>
                </a:ext>
              </a:extLst>
            </p:cNvPr>
            <p:cNvSpPr/>
            <p:nvPr/>
          </p:nvSpPr>
          <p:spPr>
            <a:xfrm>
              <a:off x="207122" y="215979"/>
              <a:ext cx="11491716" cy="1214125"/>
            </a:xfrm>
            <a:prstGeom prst="roundRect">
              <a:avLst>
                <a:gd name="adj" fmla="val 50000"/>
              </a:avLst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ángulo 12">
              <a:extLst>
                <a:ext uri="{FF2B5EF4-FFF2-40B4-BE49-F238E27FC236}">
                  <a16:creationId xmlns:a16="http://schemas.microsoft.com/office/drawing/2014/main" id="{26499F31-4BFD-9256-4FC2-5D1FF9A1EF51}"/>
                </a:ext>
              </a:extLst>
            </p:cNvPr>
            <p:cNvSpPr/>
            <p:nvPr/>
          </p:nvSpPr>
          <p:spPr>
            <a:xfrm>
              <a:off x="350142" y="421998"/>
              <a:ext cx="11491716" cy="769441"/>
            </a:xfrm>
            <a:prstGeom prst="rect">
              <a:avLst/>
            </a:prstGeom>
          </p:spPr>
          <p:txBody>
            <a:bodyPr wrap="square" lIns="0" rIns="0" anchor="b" anchorCtr="0">
              <a:spAutoFit/>
            </a:bodyPr>
            <a:lstStyle/>
            <a:p>
              <a:r>
                <a:rPr lang="en-US" sz="4400" b="1" dirty="0" err="1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IaC</a:t>
              </a:r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ea typeface="Source Sans Pro Black" panose="020B0803030403020204" pitchFamily="34" charset="0"/>
                  <a:cs typeface="Segoe UI" panose="020B0502040204020203" pitchFamily="34" charset="0"/>
                </a:rPr>
                <a:t> using Pipeli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07</TotalTime>
  <Words>1148</Words>
  <Application>Microsoft Office PowerPoint</Application>
  <PresentationFormat>Widescreen</PresentationFormat>
  <Paragraphs>296</Paragraphs>
  <Slides>2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Georgi Ivanov</vt:lpstr>
      <vt:lpstr>PowerPoint Presentation</vt:lpstr>
      <vt:lpstr>PowerPoint Presentation</vt:lpstr>
      <vt:lpstr>Infrastructure Management</vt:lpstr>
      <vt:lpstr>Infrastructure As Code (IaC) in practice</vt:lpstr>
      <vt:lpstr>But there are multiple IaC applications</vt:lpstr>
      <vt:lpstr>PowerPoint Presentation</vt:lpstr>
      <vt:lpstr>PowerPoint Presentation</vt:lpstr>
      <vt:lpstr>PowerPoint Presentation</vt:lpstr>
      <vt:lpstr>PowerPoint Presentation</vt:lpstr>
      <vt:lpstr>Azure Template Spe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400</cp:revision>
  <dcterms:created xsi:type="dcterms:W3CDTF">2020-10-26T06:25:39Z</dcterms:created>
  <dcterms:modified xsi:type="dcterms:W3CDTF">2024-09-27T21:30:47Z</dcterms:modified>
</cp:coreProperties>
</file>